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57" r:id="rId2"/>
    <p:sldMasterId id="2147483812" r:id="rId3"/>
  </p:sldMasterIdLst>
  <p:notesMasterIdLst>
    <p:notesMasterId r:id="rId19"/>
  </p:notesMasterIdLst>
  <p:handoutMasterIdLst>
    <p:handoutMasterId r:id="rId20"/>
  </p:handoutMasterIdLst>
  <p:sldIdLst>
    <p:sldId id="340" r:id="rId4"/>
    <p:sldId id="262" r:id="rId5"/>
    <p:sldId id="257" r:id="rId6"/>
    <p:sldId id="444" r:id="rId7"/>
    <p:sldId id="445" r:id="rId8"/>
    <p:sldId id="472" r:id="rId9"/>
    <p:sldId id="475" r:id="rId10"/>
    <p:sldId id="477" r:id="rId11"/>
    <p:sldId id="476" r:id="rId12"/>
    <p:sldId id="473" r:id="rId13"/>
    <p:sldId id="474" r:id="rId14"/>
    <p:sldId id="478" r:id="rId15"/>
    <p:sldId id="447" r:id="rId16"/>
    <p:sldId id="471" r:id="rId17"/>
    <p:sldId id="450" r:id="rId18"/>
  </p:sldIdLst>
  <p:sldSz cx="12192000" cy="6858000"/>
  <p:notesSz cx="7315200" cy="9601200"/>
  <p:custDataLst>
    <p:tags r:id="rId2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00"/>
    <a:srgbClr val="0000FF"/>
    <a:srgbClr val="3C8A2E"/>
    <a:srgbClr val="ED8B00"/>
    <a:srgbClr val="DB291C"/>
    <a:srgbClr val="000000"/>
    <a:srgbClr val="FF9900"/>
    <a:srgbClr val="C00000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20" autoAdjust="0"/>
    <p:restoredTop sz="94799" autoAdjust="0"/>
  </p:normalViewPr>
  <p:slideViewPr>
    <p:cSldViewPr snapToGrid="0" showGuides="1">
      <p:cViewPr varScale="1">
        <p:scale>
          <a:sx n="85" d="100"/>
          <a:sy n="85" d="100"/>
        </p:scale>
        <p:origin x="480" y="29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9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83694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9068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223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146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61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094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8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870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4096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185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940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534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2342-7A0C-4CCE-9920-D3F7EC0F22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1CBB48-4328-4041-8A5F-22A08BA752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23BEC-B6AE-48B5-B239-484A049FA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A0062-7868-4B55-883C-82D8E89F4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F1248-385E-46EB-8E8F-EDCBE40BF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961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B7A86-2326-497F-8C3E-8ABBAD4C9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144A0-F416-46BD-BDAA-5982C771EE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7C4A44-E9C3-4DA4-9CFC-7D6AF5B8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837A5-7589-4A69-B30C-FE851E26D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A9111-C5EB-4DB1-8D47-9F919425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83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0A551-B326-4617-B7C6-48032BBD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93ED-2814-4188-8D5F-9DADCC99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C086E3-6591-45DA-AF26-CABC96D1A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9A1F0A-CFBD-45C1-89B1-36D1FAB4F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9F3E53-BCB8-4190-93C3-B3040FD9C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9135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7ED10-908F-4076-A91D-716E3C21E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516D1-5DB6-4648-97DC-DDE92169C5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374678-7D14-4003-8AC2-230D9F94C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906C36-84DC-4DFE-B4D9-2C1FA5437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32DBC-7975-41B7-9C46-F1B2424EB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DE0E5-7A1A-477C-A509-41CBE3212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071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8FEF0-062B-4D6F-97FE-4BFEBE705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F2AD81-65D3-44FF-B689-C17BEC7B8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391EB5-1EAD-4A5E-99C3-E0E1F2755C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10B9B1-9692-438D-B45E-FD50EEBDA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E526FD-34E3-478F-9FB4-E83F220E4A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A5DCA96-88C4-4F88-9ACC-FA90B4323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B6A89-7842-4C25-8F0D-6493F9974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36AF5A-3F52-4BBB-84DE-EC9D92433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804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A7249-5AA2-4E46-95E2-1947B11A4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B3E324-51CF-4267-A102-344B7760C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A2556E-94E2-4B13-B806-6A2169911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D585AA-FB38-4230-B883-28C0FEE23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0451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A58AE8-FB14-412E-8FB0-244566F49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DB8B2D-7BE5-402A-9831-120ED6761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D8A42-8DDB-4B99-9425-A1AF0F4C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925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FAAC8-8D73-4E9B-8D85-D85B170AF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9AD683-0FD0-40D0-947B-C358DD29CE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A2F6D2-8FF5-4D32-B9A9-280F60894C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0946C1-C1A3-4557-9750-04269FEF1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035F7-2215-4D86-BF7C-CD504D102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AF38D6-3A6F-4F8A-BCD7-8ADEF2E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1503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DCD61-2B1E-44E1-A0AE-23A946809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B61A5C-DE0B-420C-BAC7-84A1F44C51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6CBBED-3682-41C7-9FDB-F2F9663A54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4E6683-A6C7-44B1-B7CF-E0883EC4B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142D4-1FA1-4ED7-BD09-50A5BD09E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2BA615-101F-426C-8B46-5ED990CA8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794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E3755-8F4A-4DA5-B1AC-1CC15AF7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3973FE-DB03-4441-A301-83C21BCC1B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1BEF56-AFCE-4308-B09A-706C72EF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BEA6EA-A546-458D-A94C-A181EB048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783A3-8B83-48A6-BC36-FDADA21DE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827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1E0FF9-67D8-42AC-A59B-55C4EB45F2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4F03D-2724-4581-B3E7-A3AA74D171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643A1-9D34-4133-9DE8-821AF4448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60D9F2-3C56-468A-BEBD-83C69C13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637B2-D7A2-40B0-B187-D294DE891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641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602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38438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7754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584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860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21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706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5433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9381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741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06202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6110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1993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1362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04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959489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79717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44337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61429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784396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48360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734698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353223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321807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815299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965055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985337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200295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332993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737508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669723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14272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613748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720734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322021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011416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762788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297605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37418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96179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363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92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 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4F3524-90B6-44FB-BCB5-11A37396F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65C1A-3766-4CCE-B03E-BB3400E59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E592A-B5A9-4D1C-A365-375C9B3F77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61C27-3EA2-4142-8C98-D098F524FE6E}" type="datetimeFigureOut">
              <a:rPr lang="en-US" smtClean="0"/>
              <a:t>3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7EA17-AE76-4339-AC3F-E7F064D40A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6F058-40B9-4F8C-A7BB-5F65E7EA6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46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 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9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  <p:sldLayoutId id="2147483843" r:id="rId31"/>
    <p:sldLayoutId id="2147483844" r:id="rId32"/>
    <p:sldLayoutId id="2147483845" r:id="rId33"/>
    <p:sldLayoutId id="2147483846" r:id="rId34"/>
    <p:sldLayoutId id="2147483847" r:id="rId35"/>
    <p:sldLayoutId id="2147483848" r:id="rId36"/>
    <p:sldLayoutId id="2147483849" r:id="rId37"/>
    <p:sldLayoutId id="2147483850" r:id="rId38"/>
    <p:sldLayoutId id="2147483851" r:id="rId39"/>
    <p:sldLayoutId id="2147483852" r:id="rId40"/>
    <p:sldLayoutId id="2147483853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845180"/>
            <a:ext cx="7217072" cy="505645"/>
          </a:xfrm>
        </p:spPr>
        <p:txBody>
          <a:bodyPr/>
          <a:lstStyle/>
          <a:p>
            <a:r>
              <a:rPr lang="en-US" dirty="0" err="1"/>
              <a:t>SubPy</a:t>
            </a:r>
            <a:endParaRPr lang="en-US" dirty="0"/>
          </a:p>
          <a:p>
            <a:pPr lvl="1"/>
            <a:r>
              <a:rPr lang="en-US" dirty="0"/>
              <a:t>Analyzing the correlation of NYC subways on NYC Housing Price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George Guo, Robert James, Carmelo </a:t>
            </a:r>
            <a:r>
              <a:rPr lang="en-US" noProof="0" dirty="0" err="1"/>
              <a:t>Urena</a:t>
            </a:r>
            <a:r>
              <a:rPr lang="en-US" noProof="0" dirty="0"/>
              <a:t>, Ali Rizvi</a:t>
            </a:r>
          </a:p>
        </p:txBody>
      </p:sp>
      <p:pic>
        <p:nvPicPr>
          <p:cNvPr id="14340" name="Picture 4" descr="https://ih0.redbubble.net/image.513420333.1858/raf,750x1000,075,t,101010:01c5ca27c6.u1.jpg">
            <a:extLst>
              <a:ext uri="{FF2B5EF4-FFF2-40B4-BE49-F238E27FC236}">
                <a16:creationId xmlns:a16="http://schemas.microsoft.com/office/drawing/2014/main" id="{61F84176-AB12-4AC0-9A77-981129769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128" y="297506"/>
            <a:ext cx="4052842" cy="540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Home Prices Relative to Number of Stations| </a:t>
            </a:r>
            <a:endParaRPr lang="en-US" sz="2400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EFD0B6-A144-4F8B-9C50-049388EE4F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3648" y="1291176"/>
            <a:ext cx="8666375" cy="4275648"/>
          </a:xfrm>
          <a:prstGeom prst="rect">
            <a:avLst/>
          </a:prstGeom>
          <a:ln w="19050">
            <a:noFill/>
          </a:ln>
        </p:spPr>
      </p:pic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3033661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dirty="0"/>
              <a:t>There was no correlation between train proximity and home values.</a:t>
            </a:r>
          </a:p>
          <a:p>
            <a:pPr marL="228600" lvl="1" indent="-228600">
              <a:buAutoNum type="arabicPeriod"/>
            </a:pPr>
            <a:r>
              <a:rPr lang="en-US" dirty="0"/>
              <a:t>The red areas signify stations which are train junctions and have multiple subway lines passing through.</a:t>
            </a:r>
          </a:p>
          <a:p>
            <a:pPr marL="228600" lvl="1" indent="-228600">
              <a:buAutoNum type="arabicPeriod"/>
            </a:pPr>
            <a:r>
              <a:rPr lang="en-US" dirty="0"/>
              <a:t>From this, we can determine that value has a correlation to convenience. If a station has multiple lines passing through, the value of the homes will be higher.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F56FA3-1679-4D6F-952C-45C7879CD4E3}"/>
              </a:ext>
            </a:extLst>
          </p:cNvPr>
          <p:cNvSpPr txBox="1"/>
          <p:nvPr/>
        </p:nvSpPr>
        <p:spPr bwMode="gray">
          <a:xfrm>
            <a:off x="4828634" y="5871754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5</a:t>
            </a:r>
            <a:r>
              <a:rPr lang="en-US" sz="1400" dirty="0"/>
              <a:t>: Home Prices vs. Train Proximity</a:t>
            </a:r>
            <a:endParaRPr lang="en-US" sz="13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51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noProof="0" dirty="0"/>
              <a:t>Manhattans</a:t>
            </a:r>
            <a:r>
              <a:rPr lang="en-US" sz="2400" b="1" dirty="0"/>
              <a:t> unique real estate values had varying pricing across different locations outside of the MTA</a:t>
            </a:r>
            <a:endParaRPr lang="en-US" sz="24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06F0C9-4C73-49A0-A2C9-9BE590346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0741" y="1291176"/>
            <a:ext cx="6616539" cy="441102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41DDF3D-1A1D-4B43-B0B6-B80E5884B4E1}"/>
              </a:ext>
            </a:extLst>
          </p:cNvPr>
          <p:cNvSpPr txBox="1"/>
          <p:nvPr/>
        </p:nvSpPr>
        <p:spPr bwMode="gray">
          <a:xfrm>
            <a:off x="5788430" y="5799489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6:</a:t>
            </a:r>
            <a:r>
              <a:rPr lang="en-US" sz="1400" dirty="0"/>
              <a:t> Manhattans Price per </a:t>
            </a:r>
            <a:r>
              <a:rPr lang="en-US" sz="1400" dirty="0" err="1"/>
              <a:t>Sqft</a:t>
            </a:r>
            <a:r>
              <a:rPr lang="en-US" sz="1400" dirty="0"/>
              <a:t> vs. Latitude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4CBBFE9-12ED-41FC-BC5C-23FBA0AE187F}"/>
              </a:ext>
            </a:extLst>
          </p:cNvPr>
          <p:cNvSpPr txBox="1">
            <a:spLocks/>
          </p:cNvSpPr>
          <p:nvPr/>
        </p:nvSpPr>
        <p:spPr>
          <a:xfrm>
            <a:off x="469900" y="1725679"/>
            <a:ext cx="4632273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n an attempt understand pricing we furthered our analysis into the borough to find trends within the data we had.</a:t>
            </a:r>
          </a:p>
          <a:p>
            <a:r>
              <a:rPr lang="en-US" sz="1600" dirty="0"/>
              <a:t>Our location based data was limited and this further disproved our original hypothesis about the MTA</a:t>
            </a:r>
          </a:p>
          <a:p>
            <a:r>
              <a:rPr lang="en-US" sz="1600" dirty="0"/>
              <a:t>However, the plot does show that the closer we move towards the city the variability of home prices increases: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/>
              <a:t>This is due to diversity of home options in the city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/>
              <a:t>Closer proximity to services, such as stations, schools, etc. </a:t>
            </a:r>
          </a:p>
        </p:txBody>
      </p:sp>
    </p:spTree>
    <p:extLst>
      <p:ext uri="{BB962C8B-B14F-4D97-AF65-F5344CB8AC3E}">
        <p14:creationId xmlns:p14="http://schemas.microsoft.com/office/powerpoint/2010/main" val="71001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noProof="0" dirty="0"/>
              <a:t>Further analysis was done on Staten </a:t>
            </a:r>
            <a:r>
              <a:rPr lang="en-US" sz="2400" b="1" dirty="0"/>
              <a:t>Island as it was the most stable of the 5 boroughs</a:t>
            </a:r>
            <a:endParaRPr lang="en-US" sz="2400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2DECDE-9468-4B67-B90C-A7E51FFD8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9239" y="1291176"/>
            <a:ext cx="6024174" cy="4016116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D8DEC70-99DD-400E-B77F-B2367478F5CE}"/>
              </a:ext>
            </a:extLst>
          </p:cNvPr>
          <p:cNvSpPr txBox="1"/>
          <p:nvPr/>
        </p:nvSpPr>
        <p:spPr bwMode="gray">
          <a:xfrm>
            <a:off x="6096000" y="5566824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7:</a:t>
            </a:r>
            <a:r>
              <a:rPr lang="en-US" sz="1400" dirty="0"/>
              <a:t> Staten Island Price per </a:t>
            </a:r>
            <a:r>
              <a:rPr lang="en-US" sz="1400" dirty="0" err="1"/>
              <a:t>Sqft</a:t>
            </a:r>
            <a:r>
              <a:rPr lang="en-US" sz="1400" dirty="0"/>
              <a:t> vs. Train Distanc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5272507-B477-4929-A79A-5A15A86D50E4}"/>
              </a:ext>
            </a:extLst>
          </p:cNvPr>
          <p:cNvSpPr txBox="1">
            <a:spLocks/>
          </p:cNvSpPr>
          <p:nvPr/>
        </p:nvSpPr>
        <p:spPr>
          <a:xfrm>
            <a:off x="469900" y="1771689"/>
            <a:ext cx="5099200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taten Island is the only borough that had one Subway line through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nowing this we believed that we would be able to see the direct effect of MTA train distances but this was not tr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e also tried to group the house data by home type, bedroom number, bathroom number and some combination of these factors, but this resulted to similar conclusions</a:t>
            </a:r>
          </a:p>
          <a:p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E4AB79-DF62-4AAB-A2B4-6FDBB5F7BFFA}"/>
              </a:ext>
            </a:extLst>
          </p:cNvPr>
          <p:cNvSpPr txBox="1"/>
          <p:nvPr/>
        </p:nvSpPr>
        <p:spPr bwMode="gray">
          <a:xfrm>
            <a:off x="7295745" y="833976"/>
            <a:ext cx="3657600" cy="914400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>
                <a:solidFill>
                  <a:schemeClr val="tx1"/>
                </a:solidFill>
              </a:rPr>
              <a:t>Staten Island: Avg. Price vs. Dist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48420-A1E4-43ED-B607-3A5002E6BD9A}"/>
              </a:ext>
            </a:extLst>
          </p:cNvPr>
          <p:cNvSpPr txBox="1"/>
          <p:nvPr/>
        </p:nvSpPr>
        <p:spPr bwMode="gray">
          <a:xfrm>
            <a:off x="6095999" y="5826356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800" dirty="0"/>
              <a:t>(Single Family Homes Only)</a:t>
            </a:r>
          </a:p>
        </p:txBody>
      </p:sp>
    </p:spTree>
    <p:extLst>
      <p:ext uri="{BB962C8B-B14F-4D97-AF65-F5344CB8AC3E}">
        <p14:creationId xmlns:p14="http://schemas.microsoft.com/office/powerpoint/2010/main" val="70816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Based upon the data reviewed and the outputs generated, it was determined that there i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noProof="0" dirty="0">
                <a:solidFill>
                  <a:schemeClr val="accent1"/>
                </a:solidFill>
              </a:rPr>
              <a:t>no correlation between the proximity of the subway station and the price of homes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B7A13E-389E-4554-9B55-C3431C9AE11B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5872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</a:rPr>
              <a:t>Conclusion|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8444599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Challenges| </a:t>
            </a:r>
            <a:endParaRPr lang="en-US" sz="2400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1D26C86-3C2A-4FF0-A603-AD807E58FF75}"/>
              </a:ext>
            </a:extLst>
          </p:cNvPr>
          <p:cNvGrpSpPr/>
          <p:nvPr/>
        </p:nvGrpSpPr>
        <p:grpSpPr>
          <a:xfrm>
            <a:off x="1318062" y="1539127"/>
            <a:ext cx="9070276" cy="3633819"/>
            <a:chOff x="376238" y="1680559"/>
            <a:chExt cx="6316115" cy="2293416"/>
          </a:xfrm>
        </p:grpSpPr>
        <p:sp>
          <p:nvSpPr>
            <p:cNvPr id="17" name="Chevron 4">
              <a:extLst>
                <a:ext uri="{FF2B5EF4-FFF2-40B4-BE49-F238E27FC236}">
                  <a16:creationId xmlns:a16="http://schemas.microsoft.com/office/drawing/2014/main" id="{409B616B-4719-4E55-8212-E5EB3E66C87B}"/>
                </a:ext>
              </a:extLst>
            </p:cNvPr>
            <p:cNvSpPr/>
            <p:nvPr/>
          </p:nvSpPr>
          <p:spPr>
            <a:xfrm>
              <a:off x="376238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  <a:latin typeface="Verdana"/>
                </a:rPr>
                <a:t>Zillow API </a:t>
              </a:r>
            </a:p>
          </p:txBody>
        </p:sp>
        <p:sp>
          <p:nvSpPr>
            <p:cNvPr id="18" name="Chevron 5">
              <a:extLst>
                <a:ext uri="{FF2B5EF4-FFF2-40B4-BE49-F238E27FC236}">
                  <a16:creationId xmlns:a16="http://schemas.microsoft.com/office/drawing/2014/main" id="{968013AA-778C-4C44-9EB7-A5EC5495185A}"/>
                </a:ext>
              </a:extLst>
            </p:cNvPr>
            <p:cNvSpPr/>
            <p:nvPr/>
          </p:nvSpPr>
          <p:spPr>
            <a:xfrm>
              <a:off x="2461705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  <a:latin typeface="Verdana"/>
                </a:rPr>
                <a:t>XML to JSON </a:t>
              </a:r>
            </a:p>
          </p:txBody>
        </p:sp>
        <p:sp>
          <p:nvSpPr>
            <p:cNvPr id="19" name="Chevron 6">
              <a:extLst>
                <a:ext uri="{FF2B5EF4-FFF2-40B4-BE49-F238E27FC236}">
                  <a16:creationId xmlns:a16="http://schemas.microsoft.com/office/drawing/2014/main" id="{DD312CE6-B301-4EAB-B889-C2E3A834B959}"/>
                </a:ext>
              </a:extLst>
            </p:cNvPr>
            <p:cNvSpPr/>
            <p:nvPr/>
          </p:nvSpPr>
          <p:spPr>
            <a:xfrm>
              <a:off x="4547172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</a:rPr>
                <a:t>Demonstrating Correl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4CF32DD-A591-4745-88FF-90568D49B9FB}"/>
                </a:ext>
              </a:extLst>
            </p:cNvPr>
            <p:cNvSpPr/>
            <p:nvPr/>
          </p:nvSpPr>
          <p:spPr>
            <a:xfrm>
              <a:off x="555145" y="2660277"/>
              <a:ext cx="1874885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Zillow API did not provide the information anticipated.</a:t>
              </a:r>
            </a:p>
            <a:p>
              <a:pPr defTabSz="1065820" fontAlgn="base">
                <a:spcAft>
                  <a:spcPts val="349"/>
                </a:spcAft>
                <a:defRPr/>
              </a:pPr>
              <a:endParaRPr lang="en-US" sz="1161" kern="0" dirty="0">
                <a:solidFill>
                  <a:srgbClr val="000000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  <a:latin typeface="Verdana"/>
                </a:rPr>
                <a:t>Housing data came in latitude and longitude, had to use SCIPY to convert to zip code.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CA006A1-B745-4D78-B785-1C0C5EC5953B}"/>
                </a:ext>
              </a:extLst>
            </p:cNvPr>
            <p:cNvSpPr/>
            <p:nvPr/>
          </p:nvSpPr>
          <p:spPr>
            <a:xfrm>
              <a:off x="2624777" y="2660277"/>
              <a:ext cx="1874885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Outputs not returned in JSON format. 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Unsuccessfully attempted to import beautiful soup.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Took time to convert from XML to JSON to create data frames.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4EB48FA-B7A2-46B3-AF0C-0A0060F0F9F3}"/>
                </a:ext>
              </a:extLst>
            </p:cNvPr>
            <p:cNvSpPr/>
            <p:nvPr/>
          </p:nvSpPr>
          <p:spPr>
            <a:xfrm>
              <a:off x="4694409" y="2660277"/>
              <a:ext cx="1938230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Ultimately there was no correlation.</a:t>
              </a: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srgbClr val="000000"/>
                </a:solidFill>
              </a:endParaRP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Using data generated to see other trends. </a:t>
              </a: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srgbClr val="000000"/>
                </a:solidFill>
              </a:endParaRP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Using different data sets to enhance our analysis</a:t>
              </a:r>
            </a:p>
          </p:txBody>
        </p:sp>
        <p:grpSp>
          <p:nvGrpSpPr>
            <p:cNvPr id="33" name="Group 726">
              <a:extLst>
                <a:ext uri="{FF2B5EF4-FFF2-40B4-BE49-F238E27FC236}">
                  <a16:creationId xmlns:a16="http://schemas.microsoft.com/office/drawing/2014/main" id="{95261C23-4ED6-4263-BDED-FFB3165A721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9804" y="1680559"/>
              <a:ext cx="502920" cy="502920"/>
              <a:chOff x="5022" y="3403"/>
              <a:chExt cx="340" cy="340"/>
            </a:xfrm>
            <a:solidFill>
              <a:schemeClr val="accent1"/>
            </a:solidFill>
          </p:grpSpPr>
          <p:sp>
            <p:nvSpPr>
              <p:cNvPr id="49" name="Freeform 727">
                <a:extLst>
                  <a:ext uri="{FF2B5EF4-FFF2-40B4-BE49-F238E27FC236}">
                    <a16:creationId xmlns:a16="http://schemas.microsoft.com/office/drawing/2014/main" id="{6C0CBABD-E2A5-4355-9BB4-329E3B0E1D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2" y="3403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50" name="Freeform 728">
                <a:extLst>
                  <a:ext uri="{FF2B5EF4-FFF2-40B4-BE49-F238E27FC236}">
                    <a16:creationId xmlns:a16="http://schemas.microsoft.com/office/drawing/2014/main" id="{F38F9B64-3731-4488-B6C5-157E9F6A92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0" y="3473"/>
                <a:ext cx="191" cy="192"/>
              </a:xfrm>
              <a:custGeom>
                <a:avLst/>
                <a:gdLst>
                  <a:gd name="T0" fmla="*/ 256 w 288"/>
                  <a:gd name="T1" fmla="*/ 32 h 288"/>
                  <a:gd name="T2" fmla="*/ 245 w 288"/>
                  <a:gd name="T3" fmla="*/ 0 h 288"/>
                  <a:gd name="T4" fmla="*/ 235 w 288"/>
                  <a:gd name="T5" fmla="*/ 39 h 288"/>
                  <a:gd name="T6" fmla="*/ 139 w 288"/>
                  <a:gd name="T7" fmla="*/ 11 h 288"/>
                  <a:gd name="T8" fmla="*/ 44 w 288"/>
                  <a:gd name="T9" fmla="*/ 251 h 288"/>
                  <a:gd name="T10" fmla="*/ 24 w 288"/>
                  <a:gd name="T11" fmla="*/ 285 h 288"/>
                  <a:gd name="T12" fmla="*/ 40 w 288"/>
                  <a:gd name="T13" fmla="*/ 285 h 288"/>
                  <a:gd name="T14" fmla="*/ 139 w 288"/>
                  <a:gd name="T15" fmla="*/ 288 h 288"/>
                  <a:gd name="T16" fmla="*/ 238 w 288"/>
                  <a:gd name="T17" fmla="*/ 285 h 288"/>
                  <a:gd name="T18" fmla="*/ 253 w 288"/>
                  <a:gd name="T19" fmla="*/ 285 h 288"/>
                  <a:gd name="T20" fmla="*/ 233 w 288"/>
                  <a:gd name="T21" fmla="*/ 251 h 288"/>
                  <a:gd name="T22" fmla="*/ 244 w 288"/>
                  <a:gd name="T23" fmla="*/ 60 h 288"/>
                  <a:gd name="T24" fmla="*/ 277 w 288"/>
                  <a:gd name="T25" fmla="*/ 54 h 288"/>
                  <a:gd name="T26" fmla="*/ 277 w 288"/>
                  <a:gd name="T27" fmla="*/ 32 h 288"/>
                  <a:gd name="T28" fmla="*/ 139 w 288"/>
                  <a:gd name="T29" fmla="*/ 267 h 288"/>
                  <a:gd name="T30" fmla="*/ 139 w 288"/>
                  <a:gd name="T31" fmla="*/ 32 h 288"/>
                  <a:gd name="T32" fmla="*/ 199 w 288"/>
                  <a:gd name="T33" fmla="*/ 75 h 288"/>
                  <a:gd name="T34" fmla="*/ 43 w 288"/>
                  <a:gd name="T35" fmla="*/ 150 h 288"/>
                  <a:gd name="T36" fmla="*/ 235 w 288"/>
                  <a:gd name="T37" fmla="*/ 150 h 288"/>
                  <a:gd name="T38" fmla="*/ 229 w 288"/>
                  <a:gd name="T39" fmla="*/ 75 h 288"/>
                  <a:gd name="T40" fmla="*/ 213 w 288"/>
                  <a:gd name="T41" fmla="*/ 150 h 288"/>
                  <a:gd name="T42" fmla="*/ 64 w 288"/>
                  <a:gd name="T43" fmla="*/ 150 h 288"/>
                  <a:gd name="T44" fmla="*/ 183 w 288"/>
                  <a:gd name="T45" fmla="*/ 90 h 288"/>
                  <a:gd name="T46" fmla="*/ 139 w 288"/>
                  <a:gd name="T47" fmla="*/ 96 h 288"/>
                  <a:gd name="T48" fmla="*/ 139 w 288"/>
                  <a:gd name="T49" fmla="*/ 203 h 288"/>
                  <a:gd name="T50" fmla="*/ 183 w 288"/>
                  <a:gd name="T51" fmla="*/ 120 h 288"/>
                  <a:gd name="T52" fmla="*/ 213 w 288"/>
                  <a:gd name="T53" fmla="*/ 150 h 288"/>
                  <a:gd name="T54" fmla="*/ 139 w 288"/>
                  <a:gd name="T55" fmla="*/ 182 h 288"/>
                  <a:gd name="T56" fmla="*/ 139 w 288"/>
                  <a:gd name="T57" fmla="*/ 118 h 288"/>
                  <a:gd name="T58" fmla="*/ 131 w 288"/>
                  <a:gd name="T59" fmla="*/ 142 h 288"/>
                  <a:gd name="T60" fmla="*/ 139 w 288"/>
                  <a:gd name="T61" fmla="*/ 160 h 288"/>
                  <a:gd name="T62" fmla="*/ 167 w 288"/>
                  <a:gd name="T63" fmla="*/ 13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8" h="288">
                    <a:moveTo>
                      <a:pt x="277" y="32"/>
                    </a:moveTo>
                    <a:cubicBezTo>
                      <a:pt x="256" y="32"/>
                      <a:pt x="256" y="32"/>
                      <a:pt x="256" y="32"/>
                    </a:cubicBezTo>
                    <a:cubicBezTo>
                      <a:pt x="256" y="11"/>
                      <a:pt x="256" y="11"/>
                      <a:pt x="256" y="11"/>
                    </a:cubicBezTo>
                    <a:cubicBezTo>
                      <a:pt x="256" y="5"/>
                      <a:pt x="251" y="0"/>
                      <a:pt x="245" y="0"/>
                    </a:cubicBezTo>
                    <a:cubicBezTo>
                      <a:pt x="239" y="0"/>
                      <a:pt x="235" y="5"/>
                      <a:pt x="235" y="11"/>
                    </a:cubicBezTo>
                    <a:cubicBezTo>
                      <a:pt x="235" y="39"/>
                      <a:pt x="235" y="39"/>
                      <a:pt x="235" y="39"/>
                    </a:cubicBezTo>
                    <a:cubicBezTo>
                      <a:pt x="229" y="44"/>
                      <a:pt x="229" y="44"/>
                      <a:pt x="229" y="44"/>
                    </a:cubicBezTo>
                    <a:cubicBezTo>
                      <a:pt x="205" y="24"/>
                      <a:pt x="173" y="11"/>
                      <a:pt x="139" y="11"/>
                    </a:cubicBezTo>
                    <a:cubicBezTo>
                      <a:pt x="62" y="11"/>
                      <a:pt x="0" y="73"/>
                      <a:pt x="0" y="150"/>
                    </a:cubicBezTo>
                    <a:cubicBezTo>
                      <a:pt x="0" y="189"/>
                      <a:pt x="17" y="225"/>
                      <a:pt x="44" y="251"/>
                    </a:cubicBezTo>
                    <a:cubicBezTo>
                      <a:pt x="24" y="270"/>
                      <a:pt x="24" y="270"/>
                      <a:pt x="24" y="270"/>
                    </a:cubicBezTo>
                    <a:cubicBezTo>
                      <a:pt x="20" y="274"/>
                      <a:pt x="20" y="281"/>
                      <a:pt x="24" y="285"/>
                    </a:cubicBezTo>
                    <a:cubicBezTo>
                      <a:pt x="27" y="287"/>
                      <a:pt x="29" y="288"/>
                      <a:pt x="32" y="288"/>
                    </a:cubicBezTo>
                    <a:cubicBezTo>
                      <a:pt x="35" y="288"/>
                      <a:pt x="37" y="287"/>
                      <a:pt x="40" y="285"/>
                    </a:cubicBezTo>
                    <a:cubicBezTo>
                      <a:pt x="61" y="264"/>
                      <a:pt x="61" y="264"/>
                      <a:pt x="61" y="264"/>
                    </a:cubicBezTo>
                    <a:cubicBezTo>
                      <a:pt x="83" y="279"/>
                      <a:pt x="110" y="288"/>
                      <a:pt x="139" y="288"/>
                    </a:cubicBezTo>
                    <a:cubicBezTo>
                      <a:pt x="168" y="288"/>
                      <a:pt x="194" y="279"/>
                      <a:pt x="217" y="264"/>
                    </a:cubicBezTo>
                    <a:cubicBezTo>
                      <a:pt x="238" y="285"/>
                      <a:pt x="238" y="285"/>
                      <a:pt x="238" y="285"/>
                    </a:cubicBezTo>
                    <a:cubicBezTo>
                      <a:pt x="240" y="287"/>
                      <a:pt x="243" y="288"/>
                      <a:pt x="245" y="288"/>
                    </a:cubicBezTo>
                    <a:cubicBezTo>
                      <a:pt x="248" y="288"/>
                      <a:pt x="251" y="287"/>
                      <a:pt x="253" y="285"/>
                    </a:cubicBezTo>
                    <a:cubicBezTo>
                      <a:pt x="257" y="281"/>
                      <a:pt x="257" y="274"/>
                      <a:pt x="253" y="270"/>
                    </a:cubicBezTo>
                    <a:cubicBezTo>
                      <a:pt x="233" y="251"/>
                      <a:pt x="233" y="251"/>
                      <a:pt x="233" y="251"/>
                    </a:cubicBezTo>
                    <a:cubicBezTo>
                      <a:pt x="260" y="225"/>
                      <a:pt x="277" y="189"/>
                      <a:pt x="277" y="150"/>
                    </a:cubicBezTo>
                    <a:cubicBezTo>
                      <a:pt x="277" y="115"/>
                      <a:pt x="265" y="84"/>
                      <a:pt x="244" y="60"/>
                    </a:cubicBezTo>
                    <a:cubicBezTo>
                      <a:pt x="250" y="54"/>
                      <a:pt x="250" y="54"/>
                      <a:pt x="250" y="54"/>
                    </a:cubicBezTo>
                    <a:cubicBezTo>
                      <a:pt x="277" y="54"/>
                      <a:pt x="277" y="54"/>
                      <a:pt x="277" y="54"/>
                    </a:cubicBezTo>
                    <a:cubicBezTo>
                      <a:pt x="283" y="54"/>
                      <a:pt x="288" y="49"/>
                      <a:pt x="288" y="43"/>
                    </a:cubicBezTo>
                    <a:cubicBezTo>
                      <a:pt x="288" y="37"/>
                      <a:pt x="283" y="32"/>
                      <a:pt x="277" y="32"/>
                    </a:cubicBezTo>
                    <a:close/>
                    <a:moveTo>
                      <a:pt x="256" y="150"/>
                    </a:moveTo>
                    <a:cubicBezTo>
                      <a:pt x="256" y="214"/>
                      <a:pt x="203" y="267"/>
                      <a:pt x="139" y="267"/>
                    </a:cubicBezTo>
                    <a:cubicBezTo>
                      <a:pt x="74" y="267"/>
                      <a:pt x="21" y="214"/>
                      <a:pt x="21" y="150"/>
                    </a:cubicBezTo>
                    <a:cubicBezTo>
                      <a:pt x="21" y="85"/>
                      <a:pt x="74" y="32"/>
                      <a:pt x="139" y="32"/>
                    </a:cubicBezTo>
                    <a:cubicBezTo>
                      <a:pt x="167" y="32"/>
                      <a:pt x="193" y="43"/>
                      <a:pt x="214" y="60"/>
                    </a:cubicBezTo>
                    <a:cubicBezTo>
                      <a:pt x="199" y="75"/>
                      <a:pt x="199" y="75"/>
                      <a:pt x="199" y="75"/>
                    </a:cubicBezTo>
                    <a:cubicBezTo>
                      <a:pt x="182" y="62"/>
                      <a:pt x="161" y="54"/>
                      <a:pt x="139" y="54"/>
                    </a:cubicBezTo>
                    <a:cubicBezTo>
                      <a:pt x="86" y="54"/>
                      <a:pt x="43" y="97"/>
                      <a:pt x="43" y="150"/>
                    </a:cubicBezTo>
                    <a:cubicBezTo>
                      <a:pt x="43" y="203"/>
                      <a:pt x="86" y="246"/>
                      <a:pt x="139" y="246"/>
                    </a:cubicBezTo>
                    <a:cubicBezTo>
                      <a:pt x="192" y="246"/>
                      <a:pt x="235" y="203"/>
                      <a:pt x="235" y="150"/>
                    </a:cubicBezTo>
                    <a:cubicBezTo>
                      <a:pt x="235" y="127"/>
                      <a:pt x="227" y="106"/>
                      <a:pt x="214" y="90"/>
                    </a:cubicBezTo>
                    <a:cubicBezTo>
                      <a:pt x="229" y="75"/>
                      <a:pt x="229" y="75"/>
                      <a:pt x="229" y="75"/>
                    </a:cubicBezTo>
                    <a:cubicBezTo>
                      <a:pt x="246" y="95"/>
                      <a:pt x="256" y="121"/>
                      <a:pt x="256" y="150"/>
                    </a:cubicBezTo>
                    <a:close/>
                    <a:moveTo>
                      <a:pt x="213" y="150"/>
                    </a:moveTo>
                    <a:cubicBezTo>
                      <a:pt x="213" y="191"/>
                      <a:pt x="180" y="224"/>
                      <a:pt x="139" y="224"/>
                    </a:cubicBezTo>
                    <a:cubicBezTo>
                      <a:pt x="97" y="224"/>
                      <a:pt x="64" y="191"/>
                      <a:pt x="64" y="150"/>
                    </a:cubicBezTo>
                    <a:cubicBezTo>
                      <a:pt x="64" y="108"/>
                      <a:pt x="97" y="75"/>
                      <a:pt x="139" y="75"/>
                    </a:cubicBezTo>
                    <a:cubicBezTo>
                      <a:pt x="155" y="75"/>
                      <a:pt x="171" y="81"/>
                      <a:pt x="183" y="90"/>
                    </a:cubicBezTo>
                    <a:cubicBezTo>
                      <a:pt x="168" y="105"/>
                      <a:pt x="168" y="105"/>
                      <a:pt x="168" y="105"/>
                    </a:cubicBezTo>
                    <a:cubicBezTo>
                      <a:pt x="160" y="100"/>
                      <a:pt x="150" y="96"/>
                      <a:pt x="139" y="96"/>
                    </a:cubicBezTo>
                    <a:cubicBezTo>
                      <a:pt x="109" y="96"/>
                      <a:pt x="85" y="120"/>
                      <a:pt x="85" y="150"/>
                    </a:cubicBezTo>
                    <a:cubicBezTo>
                      <a:pt x="85" y="179"/>
                      <a:pt x="109" y="203"/>
                      <a:pt x="139" y="203"/>
                    </a:cubicBezTo>
                    <a:cubicBezTo>
                      <a:pt x="168" y="203"/>
                      <a:pt x="192" y="179"/>
                      <a:pt x="192" y="150"/>
                    </a:cubicBezTo>
                    <a:cubicBezTo>
                      <a:pt x="192" y="139"/>
                      <a:pt x="189" y="129"/>
                      <a:pt x="183" y="120"/>
                    </a:cubicBezTo>
                    <a:cubicBezTo>
                      <a:pt x="198" y="105"/>
                      <a:pt x="198" y="105"/>
                      <a:pt x="198" y="105"/>
                    </a:cubicBezTo>
                    <a:cubicBezTo>
                      <a:pt x="208" y="118"/>
                      <a:pt x="213" y="133"/>
                      <a:pt x="213" y="150"/>
                    </a:cubicBezTo>
                    <a:close/>
                    <a:moveTo>
                      <a:pt x="171" y="150"/>
                    </a:moveTo>
                    <a:cubicBezTo>
                      <a:pt x="171" y="167"/>
                      <a:pt x="156" y="182"/>
                      <a:pt x="139" y="182"/>
                    </a:cubicBezTo>
                    <a:cubicBezTo>
                      <a:pt x="121" y="182"/>
                      <a:pt x="107" y="167"/>
                      <a:pt x="107" y="150"/>
                    </a:cubicBezTo>
                    <a:cubicBezTo>
                      <a:pt x="107" y="132"/>
                      <a:pt x="121" y="118"/>
                      <a:pt x="139" y="118"/>
                    </a:cubicBezTo>
                    <a:cubicBezTo>
                      <a:pt x="144" y="118"/>
                      <a:pt x="148" y="119"/>
                      <a:pt x="152" y="121"/>
                    </a:cubicBezTo>
                    <a:cubicBezTo>
                      <a:pt x="131" y="142"/>
                      <a:pt x="131" y="142"/>
                      <a:pt x="131" y="142"/>
                    </a:cubicBezTo>
                    <a:cubicBezTo>
                      <a:pt x="127" y="146"/>
                      <a:pt x="127" y="153"/>
                      <a:pt x="131" y="157"/>
                    </a:cubicBezTo>
                    <a:cubicBezTo>
                      <a:pt x="133" y="159"/>
                      <a:pt x="136" y="160"/>
                      <a:pt x="139" y="160"/>
                    </a:cubicBezTo>
                    <a:cubicBezTo>
                      <a:pt x="141" y="160"/>
                      <a:pt x="144" y="159"/>
                      <a:pt x="146" y="157"/>
                    </a:cubicBezTo>
                    <a:cubicBezTo>
                      <a:pt x="167" y="136"/>
                      <a:pt x="167" y="136"/>
                      <a:pt x="167" y="136"/>
                    </a:cubicBezTo>
                    <a:cubicBezTo>
                      <a:pt x="169" y="140"/>
                      <a:pt x="171" y="145"/>
                      <a:pt x="171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  <p:grpSp>
          <p:nvGrpSpPr>
            <p:cNvPr id="34" name="Group 795">
              <a:extLst>
                <a:ext uri="{FF2B5EF4-FFF2-40B4-BE49-F238E27FC236}">
                  <a16:creationId xmlns:a16="http://schemas.microsoft.com/office/drawing/2014/main" id="{32F26BDC-3880-40BC-A581-A5540D1F435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74786" y="1680559"/>
              <a:ext cx="502920" cy="502920"/>
              <a:chOff x="7361" y="3009"/>
              <a:chExt cx="340" cy="340"/>
            </a:xfrm>
            <a:solidFill>
              <a:schemeClr val="accent2"/>
            </a:solidFill>
          </p:grpSpPr>
          <p:sp>
            <p:nvSpPr>
              <p:cNvPr id="42" name="Freeform 796">
                <a:extLst>
                  <a:ext uri="{FF2B5EF4-FFF2-40B4-BE49-F238E27FC236}">
                    <a16:creationId xmlns:a16="http://schemas.microsoft.com/office/drawing/2014/main" id="{77539036-0DED-4116-8228-054ED0DEDD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31" y="3129"/>
                <a:ext cx="57" cy="142"/>
              </a:xfrm>
              <a:custGeom>
                <a:avLst/>
                <a:gdLst>
                  <a:gd name="T0" fmla="*/ 54 w 86"/>
                  <a:gd name="T1" fmla="*/ 0 h 213"/>
                  <a:gd name="T2" fmla="*/ 32 w 86"/>
                  <a:gd name="T3" fmla="*/ 0 h 213"/>
                  <a:gd name="T4" fmla="*/ 22 w 86"/>
                  <a:gd name="T5" fmla="*/ 9 h 213"/>
                  <a:gd name="T6" fmla="*/ 1 w 86"/>
                  <a:gd name="T7" fmla="*/ 115 h 213"/>
                  <a:gd name="T8" fmla="*/ 3 w 86"/>
                  <a:gd name="T9" fmla="*/ 124 h 213"/>
                  <a:gd name="T10" fmla="*/ 11 w 86"/>
                  <a:gd name="T11" fmla="*/ 128 h 213"/>
                  <a:gd name="T12" fmla="*/ 11 w 86"/>
                  <a:gd name="T13" fmla="*/ 203 h 213"/>
                  <a:gd name="T14" fmla="*/ 22 w 86"/>
                  <a:gd name="T15" fmla="*/ 213 h 213"/>
                  <a:gd name="T16" fmla="*/ 32 w 86"/>
                  <a:gd name="T17" fmla="*/ 203 h 213"/>
                  <a:gd name="T18" fmla="*/ 32 w 86"/>
                  <a:gd name="T19" fmla="*/ 128 h 213"/>
                  <a:gd name="T20" fmla="*/ 54 w 86"/>
                  <a:gd name="T21" fmla="*/ 128 h 213"/>
                  <a:gd name="T22" fmla="*/ 54 w 86"/>
                  <a:gd name="T23" fmla="*/ 203 h 213"/>
                  <a:gd name="T24" fmla="*/ 64 w 86"/>
                  <a:gd name="T25" fmla="*/ 213 h 213"/>
                  <a:gd name="T26" fmla="*/ 75 w 86"/>
                  <a:gd name="T27" fmla="*/ 203 h 213"/>
                  <a:gd name="T28" fmla="*/ 75 w 86"/>
                  <a:gd name="T29" fmla="*/ 128 h 213"/>
                  <a:gd name="T30" fmla="*/ 83 w 86"/>
                  <a:gd name="T31" fmla="*/ 124 h 213"/>
                  <a:gd name="T32" fmla="*/ 85 w 86"/>
                  <a:gd name="T33" fmla="*/ 115 h 213"/>
                  <a:gd name="T34" fmla="*/ 64 w 86"/>
                  <a:gd name="T35" fmla="*/ 9 h 213"/>
                  <a:gd name="T36" fmla="*/ 54 w 86"/>
                  <a:gd name="T37" fmla="*/ 0 h 213"/>
                  <a:gd name="T38" fmla="*/ 41 w 86"/>
                  <a:gd name="T39" fmla="*/ 21 h 213"/>
                  <a:gd name="T40" fmla="*/ 45 w 86"/>
                  <a:gd name="T41" fmla="*/ 21 h 213"/>
                  <a:gd name="T42" fmla="*/ 62 w 86"/>
                  <a:gd name="T43" fmla="*/ 107 h 213"/>
                  <a:gd name="T44" fmla="*/ 24 w 86"/>
                  <a:gd name="T45" fmla="*/ 107 h 213"/>
                  <a:gd name="T46" fmla="*/ 41 w 86"/>
                  <a:gd name="T47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213">
                    <a:moveTo>
                      <a:pt x="54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27" y="0"/>
                      <a:pt x="23" y="4"/>
                      <a:pt x="22" y="9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0" y="118"/>
                      <a:pt x="1" y="122"/>
                      <a:pt x="3" y="124"/>
                    </a:cubicBezTo>
                    <a:cubicBezTo>
                      <a:pt x="5" y="127"/>
                      <a:pt x="8" y="128"/>
                      <a:pt x="11" y="128"/>
                    </a:cubicBezTo>
                    <a:cubicBezTo>
                      <a:pt x="11" y="203"/>
                      <a:pt x="11" y="203"/>
                      <a:pt x="11" y="203"/>
                    </a:cubicBezTo>
                    <a:cubicBezTo>
                      <a:pt x="11" y="209"/>
                      <a:pt x="16" y="213"/>
                      <a:pt x="22" y="213"/>
                    </a:cubicBezTo>
                    <a:cubicBezTo>
                      <a:pt x="28" y="213"/>
                      <a:pt x="32" y="209"/>
                      <a:pt x="32" y="203"/>
                    </a:cubicBezTo>
                    <a:cubicBezTo>
                      <a:pt x="32" y="128"/>
                      <a:pt x="32" y="128"/>
                      <a:pt x="32" y="128"/>
                    </a:cubicBezTo>
                    <a:cubicBezTo>
                      <a:pt x="54" y="128"/>
                      <a:pt x="54" y="128"/>
                      <a:pt x="54" y="128"/>
                    </a:cubicBezTo>
                    <a:cubicBezTo>
                      <a:pt x="54" y="203"/>
                      <a:pt x="54" y="203"/>
                      <a:pt x="54" y="203"/>
                    </a:cubicBezTo>
                    <a:cubicBezTo>
                      <a:pt x="54" y="209"/>
                      <a:pt x="58" y="213"/>
                      <a:pt x="64" y="213"/>
                    </a:cubicBezTo>
                    <a:cubicBezTo>
                      <a:pt x="70" y="213"/>
                      <a:pt x="75" y="209"/>
                      <a:pt x="75" y="203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8" y="128"/>
                      <a:pt x="81" y="127"/>
                      <a:pt x="83" y="124"/>
                    </a:cubicBezTo>
                    <a:cubicBezTo>
                      <a:pt x="85" y="122"/>
                      <a:pt x="86" y="118"/>
                      <a:pt x="85" y="115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3" y="4"/>
                      <a:pt x="59" y="0"/>
                      <a:pt x="54" y="0"/>
                    </a:cubicBezTo>
                    <a:close/>
                    <a:moveTo>
                      <a:pt x="41" y="21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24" y="107"/>
                      <a:pt x="24" y="107"/>
                      <a:pt x="24" y="107"/>
                    </a:cubicBezTo>
                    <a:lnTo>
                      <a:pt x="4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3" name="Freeform 797">
                <a:extLst>
                  <a:ext uri="{FF2B5EF4-FFF2-40B4-BE49-F238E27FC236}">
                    <a16:creationId xmlns:a16="http://schemas.microsoft.com/office/drawing/2014/main" id="{2CF27D02-6A88-44A7-9A73-0EC4E01F0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39" y="3073"/>
                <a:ext cx="42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1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1" y="38"/>
                      <a:pt x="21" y="32"/>
                    </a:cubicBezTo>
                    <a:cubicBezTo>
                      <a:pt x="21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4" name="Freeform 798">
                <a:extLst>
                  <a:ext uri="{FF2B5EF4-FFF2-40B4-BE49-F238E27FC236}">
                    <a16:creationId xmlns:a16="http://schemas.microsoft.com/office/drawing/2014/main" id="{857AB66A-CB9D-44FD-9352-CD0800115B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2" y="3129"/>
                <a:ext cx="58" cy="142"/>
              </a:xfrm>
              <a:custGeom>
                <a:avLst/>
                <a:gdLst>
                  <a:gd name="T0" fmla="*/ 53 w 86"/>
                  <a:gd name="T1" fmla="*/ 0 h 213"/>
                  <a:gd name="T2" fmla="*/ 32 w 86"/>
                  <a:gd name="T3" fmla="*/ 0 h 213"/>
                  <a:gd name="T4" fmla="*/ 22 w 86"/>
                  <a:gd name="T5" fmla="*/ 9 h 213"/>
                  <a:gd name="T6" fmla="*/ 0 w 86"/>
                  <a:gd name="T7" fmla="*/ 115 h 213"/>
                  <a:gd name="T8" fmla="*/ 2 w 86"/>
                  <a:gd name="T9" fmla="*/ 124 h 213"/>
                  <a:gd name="T10" fmla="*/ 11 w 86"/>
                  <a:gd name="T11" fmla="*/ 128 h 213"/>
                  <a:gd name="T12" fmla="*/ 11 w 86"/>
                  <a:gd name="T13" fmla="*/ 203 h 213"/>
                  <a:gd name="T14" fmla="*/ 21 w 86"/>
                  <a:gd name="T15" fmla="*/ 213 h 213"/>
                  <a:gd name="T16" fmla="*/ 32 w 86"/>
                  <a:gd name="T17" fmla="*/ 203 h 213"/>
                  <a:gd name="T18" fmla="*/ 32 w 86"/>
                  <a:gd name="T19" fmla="*/ 128 h 213"/>
                  <a:gd name="T20" fmla="*/ 53 w 86"/>
                  <a:gd name="T21" fmla="*/ 128 h 213"/>
                  <a:gd name="T22" fmla="*/ 53 w 86"/>
                  <a:gd name="T23" fmla="*/ 203 h 213"/>
                  <a:gd name="T24" fmla="*/ 64 w 86"/>
                  <a:gd name="T25" fmla="*/ 213 h 213"/>
                  <a:gd name="T26" fmla="*/ 75 w 86"/>
                  <a:gd name="T27" fmla="*/ 203 h 213"/>
                  <a:gd name="T28" fmla="*/ 75 w 86"/>
                  <a:gd name="T29" fmla="*/ 128 h 213"/>
                  <a:gd name="T30" fmla="*/ 83 w 86"/>
                  <a:gd name="T31" fmla="*/ 124 h 213"/>
                  <a:gd name="T32" fmla="*/ 85 w 86"/>
                  <a:gd name="T33" fmla="*/ 115 h 213"/>
                  <a:gd name="T34" fmla="*/ 64 w 86"/>
                  <a:gd name="T35" fmla="*/ 9 h 213"/>
                  <a:gd name="T36" fmla="*/ 53 w 86"/>
                  <a:gd name="T37" fmla="*/ 0 h 213"/>
                  <a:gd name="T38" fmla="*/ 41 w 86"/>
                  <a:gd name="T39" fmla="*/ 21 h 213"/>
                  <a:gd name="T40" fmla="*/ 45 w 86"/>
                  <a:gd name="T41" fmla="*/ 21 h 213"/>
                  <a:gd name="T42" fmla="*/ 62 w 86"/>
                  <a:gd name="T43" fmla="*/ 107 h 213"/>
                  <a:gd name="T44" fmla="*/ 24 w 86"/>
                  <a:gd name="T45" fmla="*/ 107 h 213"/>
                  <a:gd name="T46" fmla="*/ 41 w 86"/>
                  <a:gd name="T47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213">
                    <a:moveTo>
                      <a:pt x="53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27" y="0"/>
                      <a:pt x="23" y="4"/>
                      <a:pt x="22" y="9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0" y="122"/>
                      <a:pt x="2" y="124"/>
                    </a:cubicBezTo>
                    <a:cubicBezTo>
                      <a:pt x="4" y="127"/>
                      <a:pt x="7" y="128"/>
                      <a:pt x="11" y="128"/>
                    </a:cubicBezTo>
                    <a:cubicBezTo>
                      <a:pt x="11" y="203"/>
                      <a:pt x="11" y="203"/>
                      <a:pt x="11" y="203"/>
                    </a:cubicBezTo>
                    <a:cubicBezTo>
                      <a:pt x="11" y="209"/>
                      <a:pt x="15" y="213"/>
                      <a:pt x="21" y="213"/>
                    </a:cubicBezTo>
                    <a:cubicBezTo>
                      <a:pt x="27" y="213"/>
                      <a:pt x="32" y="209"/>
                      <a:pt x="32" y="203"/>
                    </a:cubicBezTo>
                    <a:cubicBezTo>
                      <a:pt x="32" y="128"/>
                      <a:pt x="32" y="128"/>
                      <a:pt x="32" y="128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3" y="203"/>
                      <a:pt x="53" y="203"/>
                      <a:pt x="53" y="203"/>
                    </a:cubicBezTo>
                    <a:cubicBezTo>
                      <a:pt x="53" y="209"/>
                      <a:pt x="58" y="213"/>
                      <a:pt x="64" y="213"/>
                    </a:cubicBezTo>
                    <a:cubicBezTo>
                      <a:pt x="70" y="213"/>
                      <a:pt x="75" y="209"/>
                      <a:pt x="75" y="203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8" y="128"/>
                      <a:pt x="81" y="127"/>
                      <a:pt x="83" y="124"/>
                    </a:cubicBezTo>
                    <a:cubicBezTo>
                      <a:pt x="85" y="122"/>
                      <a:pt x="86" y="118"/>
                      <a:pt x="85" y="115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3" y="4"/>
                      <a:pt x="58" y="0"/>
                      <a:pt x="53" y="0"/>
                    </a:cubicBezTo>
                    <a:close/>
                    <a:moveTo>
                      <a:pt x="41" y="21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24" y="107"/>
                      <a:pt x="24" y="107"/>
                      <a:pt x="24" y="107"/>
                    </a:cubicBezTo>
                    <a:lnTo>
                      <a:pt x="4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5" name="Freeform 799">
                <a:extLst>
                  <a:ext uri="{FF2B5EF4-FFF2-40B4-BE49-F238E27FC236}">
                    <a16:creationId xmlns:a16="http://schemas.microsoft.com/office/drawing/2014/main" id="{030C4302-AF4C-4957-BC0A-DE27277607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0" y="3073"/>
                <a:ext cx="42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2 w 64"/>
                  <a:gd name="T13" fmla="*/ 32 h 64"/>
                  <a:gd name="T14" fmla="*/ 32 w 64"/>
                  <a:gd name="T15" fmla="*/ 42 h 64"/>
                  <a:gd name="T16" fmla="*/ 21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49" y="64"/>
                      <a:pt x="64" y="49"/>
                      <a:pt x="64" y="32"/>
                    </a:cubicBezTo>
                    <a:cubicBezTo>
                      <a:pt x="64" y="14"/>
                      <a:pt x="49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2" y="26"/>
                      <a:pt x="42" y="32"/>
                    </a:cubicBezTo>
                    <a:cubicBezTo>
                      <a:pt x="42" y="38"/>
                      <a:pt x="38" y="42"/>
                      <a:pt x="32" y="42"/>
                    </a:cubicBezTo>
                    <a:cubicBezTo>
                      <a:pt x="26" y="42"/>
                      <a:pt x="21" y="38"/>
                      <a:pt x="21" y="32"/>
                    </a:cubicBezTo>
                    <a:cubicBezTo>
                      <a:pt x="21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6" name="Freeform 800">
                <a:extLst>
                  <a:ext uri="{FF2B5EF4-FFF2-40B4-BE49-F238E27FC236}">
                    <a16:creationId xmlns:a16="http://schemas.microsoft.com/office/drawing/2014/main" id="{DFCCC17C-0008-4274-BFED-32F1E0614A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73" y="3129"/>
                <a:ext cx="57" cy="142"/>
              </a:xfrm>
              <a:custGeom>
                <a:avLst/>
                <a:gdLst>
                  <a:gd name="T0" fmla="*/ 74 w 85"/>
                  <a:gd name="T1" fmla="*/ 0 h 213"/>
                  <a:gd name="T2" fmla="*/ 10 w 85"/>
                  <a:gd name="T3" fmla="*/ 0 h 213"/>
                  <a:gd name="T4" fmla="*/ 0 w 85"/>
                  <a:gd name="T5" fmla="*/ 11 h 213"/>
                  <a:gd name="T6" fmla="*/ 0 w 85"/>
                  <a:gd name="T7" fmla="*/ 96 h 213"/>
                  <a:gd name="T8" fmla="*/ 10 w 85"/>
                  <a:gd name="T9" fmla="*/ 107 h 213"/>
                  <a:gd name="T10" fmla="*/ 10 w 85"/>
                  <a:gd name="T11" fmla="*/ 203 h 213"/>
                  <a:gd name="T12" fmla="*/ 21 w 85"/>
                  <a:gd name="T13" fmla="*/ 213 h 213"/>
                  <a:gd name="T14" fmla="*/ 32 w 85"/>
                  <a:gd name="T15" fmla="*/ 203 h 213"/>
                  <a:gd name="T16" fmla="*/ 32 w 85"/>
                  <a:gd name="T17" fmla="*/ 107 h 213"/>
                  <a:gd name="T18" fmla="*/ 53 w 85"/>
                  <a:gd name="T19" fmla="*/ 107 h 213"/>
                  <a:gd name="T20" fmla="*/ 53 w 85"/>
                  <a:gd name="T21" fmla="*/ 203 h 213"/>
                  <a:gd name="T22" fmla="*/ 64 w 85"/>
                  <a:gd name="T23" fmla="*/ 213 h 213"/>
                  <a:gd name="T24" fmla="*/ 74 w 85"/>
                  <a:gd name="T25" fmla="*/ 203 h 213"/>
                  <a:gd name="T26" fmla="*/ 74 w 85"/>
                  <a:gd name="T27" fmla="*/ 107 h 213"/>
                  <a:gd name="T28" fmla="*/ 85 w 85"/>
                  <a:gd name="T29" fmla="*/ 96 h 213"/>
                  <a:gd name="T30" fmla="*/ 85 w 85"/>
                  <a:gd name="T31" fmla="*/ 11 h 213"/>
                  <a:gd name="T32" fmla="*/ 74 w 85"/>
                  <a:gd name="T33" fmla="*/ 0 h 213"/>
                  <a:gd name="T34" fmla="*/ 21 w 85"/>
                  <a:gd name="T35" fmla="*/ 21 h 213"/>
                  <a:gd name="T36" fmla="*/ 64 w 85"/>
                  <a:gd name="T37" fmla="*/ 21 h 213"/>
                  <a:gd name="T38" fmla="*/ 64 w 85"/>
                  <a:gd name="T39" fmla="*/ 85 h 213"/>
                  <a:gd name="T40" fmla="*/ 21 w 85"/>
                  <a:gd name="T41" fmla="*/ 85 h 213"/>
                  <a:gd name="T42" fmla="*/ 21 w 85"/>
                  <a:gd name="T43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5" h="213">
                    <a:moveTo>
                      <a:pt x="7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02"/>
                      <a:pt x="4" y="107"/>
                      <a:pt x="10" y="107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10" y="209"/>
                      <a:pt x="15" y="213"/>
                      <a:pt x="21" y="213"/>
                    </a:cubicBezTo>
                    <a:cubicBezTo>
                      <a:pt x="27" y="213"/>
                      <a:pt x="32" y="209"/>
                      <a:pt x="32" y="203"/>
                    </a:cubicBezTo>
                    <a:cubicBezTo>
                      <a:pt x="32" y="107"/>
                      <a:pt x="32" y="107"/>
                      <a:pt x="32" y="107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3" y="203"/>
                      <a:pt x="53" y="203"/>
                      <a:pt x="53" y="203"/>
                    </a:cubicBezTo>
                    <a:cubicBezTo>
                      <a:pt x="53" y="209"/>
                      <a:pt x="58" y="213"/>
                      <a:pt x="64" y="213"/>
                    </a:cubicBezTo>
                    <a:cubicBezTo>
                      <a:pt x="70" y="213"/>
                      <a:pt x="74" y="209"/>
                      <a:pt x="74" y="203"/>
                    </a:cubicBezTo>
                    <a:cubicBezTo>
                      <a:pt x="74" y="107"/>
                      <a:pt x="74" y="107"/>
                      <a:pt x="74" y="107"/>
                    </a:cubicBezTo>
                    <a:cubicBezTo>
                      <a:pt x="80" y="107"/>
                      <a:pt x="85" y="102"/>
                      <a:pt x="85" y="96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5" y="5"/>
                      <a:pt x="80" y="0"/>
                      <a:pt x="74" y="0"/>
                    </a:cubicBezTo>
                    <a:close/>
                    <a:moveTo>
                      <a:pt x="21" y="21"/>
                    </a:moveTo>
                    <a:cubicBezTo>
                      <a:pt x="64" y="21"/>
                      <a:pt x="64" y="21"/>
                      <a:pt x="64" y="21"/>
                    </a:cubicBezTo>
                    <a:cubicBezTo>
                      <a:pt x="64" y="85"/>
                      <a:pt x="64" y="85"/>
                      <a:pt x="64" y="85"/>
                    </a:cubicBezTo>
                    <a:cubicBezTo>
                      <a:pt x="21" y="85"/>
                      <a:pt x="21" y="85"/>
                      <a:pt x="21" y="85"/>
                    </a:cubicBezTo>
                    <a:lnTo>
                      <a:pt x="2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7" name="Freeform 801">
                <a:extLst>
                  <a:ext uri="{FF2B5EF4-FFF2-40B4-BE49-F238E27FC236}">
                    <a16:creationId xmlns:a16="http://schemas.microsoft.com/office/drawing/2014/main" id="{A6E29B8B-6B93-4AE1-AC7B-DA4313D500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80" y="3073"/>
                <a:ext cx="43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2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2" y="38"/>
                      <a:pt x="22" y="32"/>
                    </a:cubicBezTo>
                    <a:cubicBezTo>
                      <a:pt x="22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8" name="Freeform 802">
                <a:extLst>
                  <a:ext uri="{FF2B5EF4-FFF2-40B4-BE49-F238E27FC236}">
                    <a16:creationId xmlns:a16="http://schemas.microsoft.com/office/drawing/2014/main" id="{9F23FF1D-21C4-4240-AF18-E8E7698E0B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1" y="3009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256 w 512"/>
                  <a:gd name="T11" fmla="*/ 490 h 512"/>
                  <a:gd name="T12" fmla="*/ 21 w 512"/>
                  <a:gd name="T13" fmla="*/ 256 h 512"/>
                  <a:gd name="T14" fmla="*/ 256 w 512"/>
                  <a:gd name="T15" fmla="*/ 21 h 512"/>
                  <a:gd name="T16" fmla="*/ 490 w 512"/>
                  <a:gd name="T17" fmla="*/ 256 h 512"/>
                  <a:gd name="T18" fmla="*/ 256 w 512"/>
                  <a:gd name="T19" fmla="*/ 49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56" y="490"/>
                    </a:move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  <p:grpSp>
          <p:nvGrpSpPr>
            <p:cNvPr id="35" name="Group 280">
              <a:extLst>
                <a:ext uri="{FF2B5EF4-FFF2-40B4-BE49-F238E27FC236}">
                  <a16:creationId xmlns:a16="http://schemas.microsoft.com/office/drawing/2014/main" id="{87444E81-2E16-4A2F-99F4-F7F49BBBB07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9768" y="1680559"/>
              <a:ext cx="502920" cy="502920"/>
              <a:chOff x="7350" y="739"/>
              <a:chExt cx="340" cy="340"/>
            </a:xfrm>
            <a:solidFill>
              <a:schemeClr val="accent3"/>
            </a:solidFill>
          </p:grpSpPr>
          <p:sp>
            <p:nvSpPr>
              <p:cNvPr id="40" name="Freeform 281">
                <a:extLst>
                  <a:ext uri="{FF2B5EF4-FFF2-40B4-BE49-F238E27FC236}">
                    <a16:creationId xmlns:a16="http://schemas.microsoft.com/office/drawing/2014/main" id="{5E9BBE01-3D2A-43CB-B99F-D985347F9C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3" y="830"/>
                <a:ext cx="213" cy="157"/>
              </a:xfrm>
              <a:custGeom>
                <a:avLst/>
                <a:gdLst>
                  <a:gd name="T0" fmla="*/ 1 w 321"/>
                  <a:gd name="T1" fmla="*/ 55 h 236"/>
                  <a:gd name="T2" fmla="*/ 11 w 321"/>
                  <a:gd name="T3" fmla="*/ 44 h 236"/>
                  <a:gd name="T4" fmla="*/ 284 w 321"/>
                  <a:gd name="T5" fmla="*/ 44 h 236"/>
                  <a:gd name="T6" fmla="*/ 260 w 321"/>
                  <a:gd name="T7" fmla="*/ 20 h 236"/>
                  <a:gd name="T8" fmla="*/ 260 w 321"/>
                  <a:gd name="T9" fmla="*/ 4 h 236"/>
                  <a:gd name="T10" fmla="*/ 275 w 321"/>
                  <a:gd name="T11" fmla="*/ 4 h 236"/>
                  <a:gd name="T12" fmla="*/ 318 w 321"/>
                  <a:gd name="T13" fmla="*/ 47 h 236"/>
                  <a:gd name="T14" fmla="*/ 320 w 321"/>
                  <a:gd name="T15" fmla="*/ 51 h 236"/>
                  <a:gd name="T16" fmla="*/ 320 w 321"/>
                  <a:gd name="T17" fmla="*/ 59 h 236"/>
                  <a:gd name="T18" fmla="*/ 318 w 321"/>
                  <a:gd name="T19" fmla="*/ 62 h 236"/>
                  <a:gd name="T20" fmla="*/ 275 w 321"/>
                  <a:gd name="T21" fmla="*/ 105 h 236"/>
                  <a:gd name="T22" fmla="*/ 267 w 321"/>
                  <a:gd name="T23" fmla="*/ 108 h 236"/>
                  <a:gd name="T24" fmla="*/ 260 w 321"/>
                  <a:gd name="T25" fmla="*/ 105 h 236"/>
                  <a:gd name="T26" fmla="*/ 260 w 321"/>
                  <a:gd name="T27" fmla="*/ 90 h 236"/>
                  <a:gd name="T28" fmla="*/ 284 w 321"/>
                  <a:gd name="T29" fmla="*/ 65 h 236"/>
                  <a:gd name="T30" fmla="*/ 11 w 321"/>
                  <a:gd name="T31" fmla="*/ 65 h 236"/>
                  <a:gd name="T32" fmla="*/ 1 w 321"/>
                  <a:gd name="T33" fmla="*/ 55 h 236"/>
                  <a:gd name="T34" fmla="*/ 310 w 321"/>
                  <a:gd name="T35" fmla="*/ 172 h 236"/>
                  <a:gd name="T36" fmla="*/ 37 w 321"/>
                  <a:gd name="T37" fmla="*/ 172 h 236"/>
                  <a:gd name="T38" fmla="*/ 62 w 321"/>
                  <a:gd name="T39" fmla="*/ 148 h 236"/>
                  <a:gd name="T40" fmla="*/ 62 w 321"/>
                  <a:gd name="T41" fmla="*/ 132 h 236"/>
                  <a:gd name="T42" fmla="*/ 46 w 321"/>
                  <a:gd name="T43" fmla="*/ 132 h 236"/>
                  <a:gd name="T44" fmla="*/ 4 w 321"/>
                  <a:gd name="T45" fmla="*/ 175 h 236"/>
                  <a:gd name="T46" fmla="*/ 1 w 321"/>
                  <a:gd name="T47" fmla="*/ 179 h 236"/>
                  <a:gd name="T48" fmla="*/ 1 w 321"/>
                  <a:gd name="T49" fmla="*/ 187 h 236"/>
                  <a:gd name="T50" fmla="*/ 4 w 321"/>
                  <a:gd name="T51" fmla="*/ 190 h 236"/>
                  <a:gd name="T52" fmla="*/ 46 w 321"/>
                  <a:gd name="T53" fmla="*/ 233 h 236"/>
                  <a:gd name="T54" fmla="*/ 54 w 321"/>
                  <a:gd name="T55" fmla="*/ 236 h 236"/>
                  <a:gd name="T56" fmla="*/ 62 w 321"/>
                  <a:gd name="T57" fmla="*/ 233 h 236"/>
                  <a:gd name="T58" fmla="*/ 62 w 321"/>
                  <a:gd name="T59" fmla="*/ 218 h 236"/>
                  <a:gd name="T60" fmla="*/ 37 w 321"/>
                  <a:gd name="T61" fmla="*/ 193 h 236"/>
                  <a:gd name="T62" fmla="*/ 310 w 321"/>
                  <a:gd name="T63" fmla="*/ 193 h 236"/>
                  <a:gd name="T64" fmla="*/ 321 w 321"/>
                  <a:gd name="T65" fmla="*/ 183 h 236"/>
                  <a:gd name="T66" fmla="*/ 310 w 321"/>
                  <a:gd name="T67" fmla="*/ 17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1" h="236">
                    <a:moveTo>
                      <a:pt x="1" y="55"/>
                    </a:moveTo>
                    <a:cubicBezTo>
                      <a:pt x="1" y="49"/>
                      <a:pt x="5" y="44"/>
                      <a:pt x="11" y="44"/>
                    </a:cubicBezTo>
                    <a:cubicBezTo>
                      <a:pt x="284" y="44"/>
                      <a:pt x="284" y="44"/>
                      <a:pt x="284" y="44"/>
                    </a:cubicBezTo>
                    <a:cubicBezTo>
                      <a:pt x="260" y="20"/>
                      <a:pt x="260" y="20"/>
                      <a:pt x="260" y="20"/>
                    </a:cubicBezTo>
                    <a:cubicBezTo>
                      <a:pt x="256" y="15"/>
                      <a:pt x="256" y="9"/>
                      <a:pt x="260" y="4"/>
                    </a:cubicBezTo>
                    <a:cubicBezTo>
                      <a:pt x="264" y="0"/>
                      <a:pt x="271" y="0"/>
                      <a:pt x="275" y="4"/>
                    </a:cubicBezTo>
                    <a:cubicBezTo>
                      <a:pt x="318" y="47"/>
                      <a:pt x="318" y="47"/>
                      <a:pt x="318" y="47"/>
                    </a:cubicBezTo>
                    <a:cubicBezTo>
                      <a:pt x="319" y="48"/>
                      <a:pt x="319" y="49"/>
                      <a:pt x="320" y="51"/>
                    </a:cubicBezTo>
                    <a:cubicBezTo>
                      <a:pt x="321" y="53"/>
                      <a:pt x="321" y="56"/>
                      <a:pt x="320" y="59"/>
                    </a:cubicBezTo>
                    <a:cubicBezTo>
                      <a:pt x="319" y="60"/>
                      <a:pt x="319" y="61"/>
                      <a:pt x="318" y="62"/>
                    </a:cubicBezTo>
                    <a:cubicBezTo>
                      <a:pt x="275" y="105"/>
                      <a:pt x="275" y="105"/>
                      <a:pt x="275" y="105"/>
                    </a:cubicBezTo>
                    <a:cubicBezTo>
                      <a:pt x="273" y="107"/>
                      <a:pt x="270" y="108"/>
                      <a:pt x="267" y="108"/>
                    </a:cubicBezTo>
                    <a:cubicBezTo>
                      <a:pt x="265" y="108"/>
                      <a:pt x="262" y="107"/>
                      <a:pt x="260" y="105"/>
                    </a:cubicBezTo>
                    <a:cubicBezTo>
                      <a:pt x="256" y="101"/>
                      <a:pt x="256" y="94"/>
                      <a:pt x="260" y="90"/>
                    </a:cubicBezTo>
                    <a:cubicBezTo>
                      <a:pt x="284" y="65"/>
                      <a:pt x="284" y="65"/>
                      <a:pt x="284" y="65"/>
                    </a:cubicBezTo>
                    <a:cubicBezTo>
                      <a:pt x="11" y="65"/>
                      <a:pt x="11" y="65"/>
                      <a:pt x="11" y="65"/>
                    </a:cubicBezTo>
                    <a:cubicBezTo>
                      <a:pt x="5" y="65"/>
                      <a:pt x="1" y="61"/>
                      <a:pt x="1" y="55"/>
                    </a:cubicBezTo>
                    <a:close/>
                    <a:moveTo>
                      <a:pt x="310" y="172"/>
                    </a:moveTo>
                    <a:cubicBezTo>
                      <a:pt x="37" y="172"/>
                      <a:pt x="37" y="172"/>
                      <a:pt x="37" y="172"/>
                    </a:cubicBezTo>
                    <a:cubicBezTo>
                      <a:pt x="62" y="148"/>
                      <a:pt x="62" y="148"/>
                      <a:pt x="62" y="148"/>
                    </a:cubicBezTo>
                    <a:cubicBezTo>
                      <a:pt x="66" y="143"/>
                      <a:pt x="66" y="137"/>
                      <a:pt x="62" y="132"/>
                    </a:cubicBezTo>
                    <a:cubicBezTo>
                      <a:pt x="57" y="128"/>
                      <a:pt x="51" y="128"/>
                      <a:pt x="46" y="132"/>
                    </a:cubicBezTo>
                    <a:cubicBezTo>
                      <a:pt x="4" y="175"/>
                      <a:pt x="4" y="175"/>
                      <a:pt x="4" y="175"/>
                    </a:cubicBezTo>
                    <a:cubicBezTo>
                      <a:pt x="3" y="176"/>
                      <a:pt x="2" y="177"/>
                      <a:pt x="1" y="179"/>
                    </a:cubicBezTo>
                    <a:cubicBezTo>
                      <a:pt x="0" y="181"/>
                      <a:pt x="0" y="184"/>
                      <a:pt x="1" y="187"/>
                    </a:cubicBezTo>
                    <a:cubicBezTo>
                      <a:pt x="2" y="188"/>
                      <a:pt x="3" y="189"/>
                      <a:pt x="4" y="190"/>
                    </a:cubicBezTo>
                    <a:cubicBezTo>
                      <a:pt x="46" y="233"/>
                      <a:pt x="46" y="233"/>
                      <a:pt x="46" y="233"/>
                    </a:cubicBezTo>
                    <a:cubicBezTo>
                      <a:pt x="49" y="235"/>
                      <a:pt x="51" y="236"/>
                      <a:pt x="54" y="236"/>
                    </a:cubicBezTo>
                    <a:cubicBezTo>
                      <a:pt x="57" y="236"/>
                      <a:pt x="59" y="235"/>
                      <a:pt x="62" y="233"/>
                    </a:cubicBezTo>
                    <a:cubicBezTo>
                      <a:pt x="66" y="229"/>
                      <a:pt x="66" y="222"/>
                      <a:pt x="62" y="218"/>
                    </a:cubicBezTo>
                    <a:cubicBezTo>
                      <a:pt x="37" y="193"/>
                      <a:pt x="37" y="193"/>
                      <a:pt x="37" y="193"/>
                    </a:cubicBezTo>
                    <a:cubicBezTo>
                      <a:pt x="310" y="193"/>
                      <a:pt x="310" y="193"/>
                      <a:pt x="310" y="193"/>
                    </a:cubicBezTo>
                    <a:cubicBezTo>
                      <a:pt x="316" y="193"/>
                      <a:pt x="321" y="189"/>
                      <a:pt x="321" y="183"/>
                    </a:cubicBezTo>
                    <a:cubicBezTo>
                      <a:pt x="321" y="177"/>
                      <a:pt x="316" y="172"/>
                      <a:pt x="310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1" name="Freeform 282">
                <a:extLst>
                  <a:ext uri="{FF2B5EF4-FFF2-40B4-BE49-F238E27FC236}">
                    <a16:creationId xmlns:a16="http://schemas.microsoft.com/office/drawing/2014/main" id="{4345B415-1C04-4EBD-814A-C8DAE1727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0" y="739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41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5BDD5108-1775-48B4-925A-7C9B130DD86E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Verdana (Headings)"/>
                <a:ea typeface="Verdana" panose="020B0604030504040204" pitchFamily="34" charset="0"/>
                <a:cs typeface="Verdana" panose="020B0604030504040204" pitchFamily="34" charset="0"/>
              </a:rPr>
              <a:t>Questions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| 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873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Hypothesis, Data, Modules</a:t>
            </a:r>
            <a:r>
              <a:rPr lang="en-US" noProof="0" dirty="0"/>
              <a:t>	3-5</a:t>
            </a:r>
          </a:p>
          <a:p>
            <a:r>
              <a:rPr lang="en-US" noProof="0" dirty="0"/>
              <a:t>Understanding the MTA System	6</a:t>
            </a:r>
          </a:p>
          <a:p>
            <a:r>
              <a:rPr lang="en-US" noProof="0" dirty="0"/>
              <a:t>NYC Home Types &amp; Average Home Price</a:t>
            </a:r>
            <a:r>
              <a:rPr lang="en-US" dirty="0"/>
              <a:t>	7-8</a:t>
            </a:r>
            <a:endParaRPr lang="en-US" noProof="0" dirty="0"/>
          </a:p>
          <a:p>
            <a:r>
              <a:rPr lang="en-US" dirty="0"/>
              <a:t>Stations Proximity to Homes</a:t>
            </a:r>
            <a:r>
              <a:rPr lang="en-US" noProof="0" dirty="0"/>
              <a:t>	9</a:t>
            </a:r>
          </a:p>
          <a:p>
            <a:r>
              <a:rPr lang="en-US" noProof="0" dirty="0"/>
              <a:t>Home Prices and Stations	10</a:t>
            </a:r>
          </a:p>
          <a:p>
            <a:r>
              <a:rPr lang="en-US" dirty="0"/>
              <a:t>Deeper Dive- Manhattan &amp; Staten Island	11-12</a:t>
            </a:r>
          </a:p>
          <a:p>
            <a:r>
              <a:rPr lang="en-US" dirty="0"/>
              <a:t>Conclusion 	13</a:t>
            </a:r>
          </a:p>
          <a:p>
            <a:r>
              <a:rPr lang="en-US" dirty="0"/>
              <a:t>Challenges	14</a:t>
            </a:r>
          </a:p>
          <a:p>
            <a:r>
              <a:rPr lang="en-US" dirty="0"/>
              <a:t>Open Discussion	15</a:t>
            </a:r>
          </a:p>
          <a:p>
            <a:endParaRPr lang="en-US" dirty="0"/>
          </a:p>
          <a:p>
            <a:endParaRPr lang="en-US" noProof="0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</p:spPr>
        <p:txBody>
          <a:bodyPr/>
          <a:lstStyle/>
          <a:p>
            <a:r>
              <a:rPr lang="en-US" sz="2400" b="1" noProof="0" dirty="0"/>
              <a:t>Contents|</a:t>
            </a:r>
          </a:p>
        </p:txBody>
      </p:sp>
    </p:spTree>
    <p:extLst>
      <p:ext uri="{BB962C8B-B14F-4D97-AF65-F5344CB8AC3E}">
        <p14:creationId xmlns:p14="http://schemas.microsoft.com/office/powerpoint/2010/main" val="318710081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Related image">
            <a:extLst>
              <a:ext uri="{FF2B5EF4-FFF2-40B4-BE49-F238E27FC236}">
                <a16:creationId xmlns:a16="http://schemas.microsoft.com/office/drawing/2014/main" id="{A039BE0D-E28B-4C2F-A150-8E03E575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118" y="5377697"/>
            <a:ext cx="584664" cy="923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2D3050-582A-4C04-8542-386BD4062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228795"/>
            <a:ext cx="10515600" cy="2630509"/>
          </a:xfrm>
        </p:spPr>
        <p:txBody>
          <a:bodyPr/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proximity of NYC Subway Stations has a strong correlation to NYC housing prices. The closer the station, the higher the price. </a:t>
            </a:r>
          </a:p>
          <a:p>
            <a:pPr marL="0" indent="0">
              <a:buNone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arrive at a conclusion, the following will be considered: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Home Type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borough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based on Proximity to MTA Stations</a:t>
            </a:r>
            <a:r>
              <a:rPr lang="en-US" i="1" dirty="0">
                <a:latin typeface="+mj-lt"/>
              </a:rPr>
              <a:t>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79A725A-FC02-44AE-B4E7-7623A65B9B79}"/>
              </a:ext>
            </a:extLst>
          </p:cNvPr>
          <p:cNvGrpSpPr/>
          <p:nvPr/>
        </p:nvGrpSpPr>
        <p:grpSpPr>
          <a:xfrm>
            <a:off x="1882055" y="4723738"/>
            <a:ext cx="8924348" cy="1761862"/>
            <a:chOff x="1268773" y="4252060"/>
            <a:chExt cx="8924348" cy="1761862"/>
          </a:xfrm>
        </p:grpSpPr>
        <p:pic>
          <p:nvPicPr>
            <p:cNvPr id="1026" name="Picture 2" descr="Image result for house vector png">
              <a:extLst>
                <a:ext uri="{FF2B5EF4-FFF2-40B4-BE49-F238E27FC236}">
                  <a16:creationId xmlns:a16="http://schemas.microsoft.com/office/drawing/2014/main" id="{655D6DE2-6FFD-4C21-B89C-8074D98EF7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5598" y="4252060"/>
              <a:ext cx="1857523" cy="1757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Related image">
              <a:extLst>
                <a:ext uri="{FF2B5EF4-FFF2-40B4-BE49-F238E27FC236}">
                  <a16:creationId xmlns:a16="http://schemas.microsoft.com/office/drawing/2014/main" id="{443B3AAE-108C-4394-9DFF-3817444502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8773" y="4906019"/>
              <a:ext cx="1412033" cy="11079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A139075-F7D8-4833-976E-48ABCEACB141}"/>
                </a:ext>
              </a:extLst>
            </p:cNvPr>
            <p:cNvCxnSpPr>
              <a:cxnSpLocks/>
            </p:cNvCxnSpPr>
            <p:nvPr/>
          </p:nvCxnSpPr>
          <p:spPr>
            <a:xfrm>
              <a:off x="2050989" y="5980928"/>
              <a:ext cx="7838762" cy="0"/>
            </a:xfrm>
            <a:prstGeom prst="line">
              <a:avLst/>
            </a:prstGeom>
            <a:ln w="730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2">
            <a:extLst>
              <a:ext uri="{FF2B5EF4-FFF2-40B4-BE49-F238E27FC236}">
                <a16:creationId xmlns:a16="http://schemas.microsoft.com/office/drawing/2014/main" id="{5BDD5108-1775-48B4-925A-7C9B130DD86E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Verdana (Headings)"/>
                <a:ea typeface="Verdana" panose="020B0604030504040204" pitchFamily="34" charset="0"/>
                <a:cs typeface="Verdana" panose="020B0604030504040204" pitchFamily="34" charset="0"/>
              </a:rPr>
              <a:t>Hypothesis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| 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23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440" y="1413380"/>
            <a:ext cx="2867189" cy="2649789"/>
          </a:xfrm>
        </p:spPr>
        <p:txBody>
          <a:bodyPr/>
          <a:lstStyle/>
          <a:p>
            <a:r>
              <a:rPr lang="en-US" sz="20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TA</a:t>
            </a:r>
          </a:p>
          <a:p>
            <a:pPr lvl="1"/>
            <a:r>
              <a:rPr lang="en-US" dirty="0"/>
              <a:t>Used the MTA Station CSV to locate: Stop Name, Stop Latitude and Longitude.</a:t>
            </a:r>
          </a:p>
          <a:p>
            <a:pPr marL="0" lvl="1" indent="0">
              <a:buNone/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he Number of stations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Stations per borough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otal numbers of lines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4144766" y="1413380"/>
            <a:ext cx="3128048" cy="2744174"/>
          </a:xfrm>
        </p:spPr>
        <p:txBody>
          <a:bodyPr/>
          <a:lstStyle/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illow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Zillow API Connection which included: Housing Prices, House Details, Home Type, Bedrooms Bathrooms.</a:t>
            </a:r>
          </a:p>
          <a:p>
            <a:pPr marL="0" lvl="1" indent="0">
              <a:buNone/>
            </a:pPr>
            <a:r>
              <a:rPr lang="en-US" b="1" i="1" u="sng" dirty="0"/>
              <a:t>This helped us generate:</a:t>
            </a:r>
          </a:p>
          <a:p>
            <a:pPr lvl="1"/>
            <a:r>
              <a:rPr lang="en-US" dirty="0"/>
              <a:t>Station address and location.</a:t>
            </a:r>
          </a:p>
          <a:p>
            <a:pPr lvl="1"/>
            <a:r>
              <a:rPr lang="en-US" dirty="0"/>
              <a:t>Housing types that are most common.</a:t>
            </a:r>
          </a:p>
          <a:p>
            <a:pPr marL="0" lvl="1" indent="0"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464434" cy="696382"/>
          </a:xfrm>
        </p:spPr>
        <p:txBody>
          <a:bodyPr/>
          <a:lstStyle/>
          <a:p>
            <a:r>
              <a:rPr lang="en-US" sz="2400" b="1" dirty="0"/>
              <a:t>Data| </a:t>
            </a:r>
            <a:endParaRPr lang="en-US" sz="2400" noProof="0" dirty="0"/>
          </a:p>
        </p:txBody>
      </p:sp>
      <p:pic>
        <p:nvPicPr>
          <p:cNvPr id="7" name="Picture 2" descr="Image result for mta logo">
            <a:extLst>
              <a:ext uri="{FF2B5EF4-FFF2-40B4-BE49-F238E27FC236}">
                <a16:creationId xmlns:a16="http://schemas.microsoft.com/office/drawing/2014/main" id="{37EED2ED-89F5-4490-B2F2-48B0EC2E3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59" y="4510558"/>
            <a:ext cx="1557452" cy="171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mage result for zillow logo">
            <a:extLst>
              <a:ext uri="{FF2B5EF4-FFF2-40B4-BE49-F238E27FC236}">
                <a16:creationId xmlns:a16="http://schemas.microsoft.com/office/drawing/2014/main" id="{CC309993-C6D3-404D-913C-88F5A3B9E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0469" y="4972375"/>
            <a:ext cx="3712139" cy="78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AD68208-26D4-4F95-9BF8-B61D1156CE57}"/>
              </a:ext>
            </a:extLst>
          </p:cNvPr>
          <p:cNvSpPr txBox="1">
            <a:spLocks/>
          </p:cNvSpPr>
          <p:nvPr/>
        </p:nvSpPr>
        <p:spPr>
          <a:xfrm>
            <a:off x="7822758" y="1413380"/>
            <a:ext cx="4303254" cy="3025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ogle Maps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google maps API Connection which included: zip code, latitude and longitude</a:t>
            </a:r>
          </a:p>
          <a:p>
            <a:pPr marL="0" lvl="1" indent="0">
              <a:buNone/>
              <a:tabLst/>
            </a:pPr>
            <a:endParaRPr lang="en-US" b="1" i="1" u="sng" dirty="0"/>
          </a:p>
          <a:p>
            <a:pPr marL="0" lvl="1" indent="0">
              <a:buNone/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Used </a:t>
            </a:r>
            <a:r>
              <a:rPr lang="en-US" dirty="0" err="1"/>
              <a:t>geomaps</a:t>
            </a:r>
            <a:r>
              <a:rPr lang="en-US" dirty="0"/>
              <a:t> to visualize station and housing locations. </a:t>
            </a:r>
          </a:p>
          <a:p>
            <a:pPr marL="0" lvl="1" indent="0">
              <a:buFont typeface="Arial" panose="020B0604020202020204" pitchFamily="34" charset="0"/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DFEAE2-0C5D-4F9E-A4EF-F46B92912F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73666" y="4439126"/>
            <a:ext cx="1853154" cy="1853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9203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Modules Used for Data Analysis</a:t>
            </a:r>
            <a:endParaRPr lang="en-US" sz="2400" noProof="0" dirty="0"/>
          </a:p>
        </p:txBody>
      </p:sp>
      <p:sp>
        <p:nvSpPr>
          <p:cNvPr id="27" name="Text Placeholder 3"/>
          <p:cNvSpPr txBox="1">
            <a:spLocks/>
          </p:cNvSpPr>
          <p:nvPr/>
        </p:nvSpPr>
        <p:spPr bwMode="gray">
          <a:xfrm>
            <a:off x="379124" y="5735537"/>
            <a:ext cx="3440605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d to convert Lat Long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a into Zip Code data across the Zillow API and MTA data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DB291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Pentagon 27"/>
          <p:cNvSpPr/>
          <p:nvPr/>
        </p:nvSpPr>
        <p:spPr bwMode="gray">
          <a:xfrm>
            <a:off x="379124" y="4802670"/>
            <a:ext cx="2318680" cy="707083"/>
          </a:xfrm>
          <a:prstGeom prst="homePlat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ZIPCODE</a:t>
            </a:r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gray">
          <a:xfrm>
            <a:off x="379124" y="2100273"/>
            <a:ext cx="3613473" cy="600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 err="1">
                <a:solidFill>
                  <a:prstClr val="black"/>
                </a:solidFill>
                <a:latin typeface="Verdana"/>
              </a:rPr>
              <a:t>Dataframe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 manipulations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eating Box Plots</a:t>
            </a:r>
          </a:p>
        </p:txBody>
      </p:sp>
      <p:sp>
        <p:nvSpPr>
          <p:cNvPr id="31" name="Text Placeholder 3"/>
          <p:cNvSpPr txBox="1">
            <a:spLocks/>
          </p:cNvSpPr>
          <p:nvPr/>
        </p:nvSpPr>
        <p:spPr bwMode="gray">
          <a:xfrm>
            <a:off x="4331510" y="1989264"/>
            <a:ext cx="361347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d to find the closest address to a specified Lat, Long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se addresses were used to search through the Zillow 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AP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EDB298A-5E52-49F7-BA61-EEEDBF0818B5}"/>
              </a:ext>
            </a:extLst>
          </p:cNvPr>
          <p:cNvSpPr txBox="1">
            <a:spLocks/>
          </p:cNvSpPr>
          <p:nvPr/>
        </p:nvSpPr>
        <p:spPr bwMode="gray">
          <a:xfrm>
            <a:off x="4229784" y="3719249"/>
            <a:ext cx="3715198" cy="5311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Used to convert XML API data into JSON for more manageable mani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DB291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410" name="Picture 2" descr="Image result for pandas module logo">
            <a:extLst>
              <a:ext uri="{FF2B5EF4-FFF2-40B4-BE49-F238E27FC236}">
                <a16:creationId xmlns:a16="http://schemas.microsoft.com/office/drawing/2014/main" id="{8C4BAB73-70A3-439F-B728-78497EF61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24" y="1274158"/>
            <a:ext cx="3012702" cy="600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Image result for geopy module logo">
            <a:extLst>
              <a:ext uri="{FF2B5EF4-FFF2-40B4-BE49-F238E27FC236}">
                <a16:creationId xmlns:a16="http://schemas.microsoft.com/office/drawing/2014/main" id="{BD9D9172-FC56-45E5-B0D7-7371ACF1F2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1" t="23560" b="18203"/>
          <a:stretch/>
        </p:blipFill>
        <p:spPr bwMode="auto">
          <a:xfrm>
            <a:off x="4331510" y="1194547"/>
            <a:ext cx="2413680" cy="759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Image result for xmljson">
            <a:extLst>
              <a:ext uri="{FF2B5EF4-FFF2-40B4-BE49-F238E27FC236}">
                <a16:creationId xmlns:a16="http://schemas.microsoft.com/office/drawing/2014/main" id="{5375A70D-F53D-428D-B952-5A4A7F2939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3" t="11515" r="11035" b="28601"/>
          <a:stretch/>
        </p:blipFill>
        <p:spPr bwMode="auto">
          <a:xfrm>
            <a:off x="4229784" y="2836658"/>
            <a:ext cx="1631625" cy="68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Image result for gmaps logo">
            <a:extLst>
              <a:ext uri="{FF2B5EF4-FFF2-40B4-BE49-F238E27FC236}">
                <a16:creationId xmlns:a16="http://schemas.microsoft.com/office/drawing/2014/main" id="{137F6CF4-9611-4352-A9E1-FDB36DDD5C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894" y="1194547"/>
            <a:ext cx="679942" cy="679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F0F5B91-8E8C-4D75-9995-1C7213BAEF78}"/>
              </a:ext>
            </a:extLst>
          </p:cNvPr>
          <p:cNvSpPr txBox="1">
            <a:spLocks/>
          </p:cNvSpPr>
          <p:nvPr/>
        </p:nvSpPr>
        <p:spPr bwMode="gray">
          <a:xfrm>
            <a:off x="8283894" y="1989264"/>
            <a:ext cx="3613470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d to create heatmaps using Zillow Data and MTA Data</a:t>
            </a:r>
          </a:p>
        </p:txBody>
      </p:sp>
      <p:pic>
        <p:nvPicPr>
          <p:cNvPr id="17418" name="Picture 10" descr="Image result for scipy logo">
            <a:extLst>
              <a:ext uri="{FF2B5EF4-FFF2-40B4-BE49-F238E27FC236}">
                <a16:creationId xmlns:a16="http://schemas.microsoft.com/office/drawing/2014/main" id="{21184631-51D2-4157-BE82-DFA420E6D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24" y="2926388"/>
            <a:ext cx="1514527" cy="601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1DF49B8-B656-47EA-A4E1-73AD1283C8AC}"/>
              </a:ext>
            </a:extLst>
          </p:cNvPr>
          <p:cNvSpPr txBox="1">
            <a:spLocks/>
          </p:cNvSpPr>
          <p:nvPr/>
        </p:nvSpPr>
        <p:spPr bwMode="gray">
          <a:xfrm>
            <a:off x="379124" y="3753926"/>
            <a:ext cx="3440604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d to process Lat Long data for easier data manipulation</a:t>
            </a:r>
          </a:p>
        </p:txBody>
      </p:sp>
      <p:pic>
        <p:nvPicPr>
          <p:cNvPr id="17420" name="Picture 12" descr="Image result for matplotlib logo">
            <a:extLst>
              <a:ext uri="{FF2B5EF4-FFF2-40B4-BE49-F238E27FC236}">
                <a16:creationId xmlns:a16="http://schemas.microsoft.com/office/drawing/2014/main" id="{DF17AD6A-3B34-44E6-9913-600FF236B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496" y="2836658"/>
            <a:ext cx="2866619" cy="68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208ADCB-2956-47C1-9514-9CB013B97705}"/>
              </a:ext>
            </a:extLst>
          </p:cNvPr>
          <p:cNvSpPr txBox="1">
            <a:spLocks/>
          </p:cNvSpPr>
          <p:nvPr/>
        </p:nvSpPr>
        <p:spPr bwMode="gray">
          <a:xfrm>
            <a:off x="8281496" y="3656036"/>
            <a:ext cx="3440604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d for plotting Graphs through the data exploration process through visualizations</a:t>
            </a:r>
          </a:p>
        </p:txBody>
      </p:sp>
    </p:spTree>
    <p:extLst>
      <p:ext uri="{BB962C8B-B14F-4D97-AF65-F5344CB8AC3E}">
        <p14:creationId xmlns:p14="http://schemas.microsoft.com/office/powerpoint/2010/main" val="148753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Understanding the MTA System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5487448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Brooklyn &amp; Manhattan accounted for 64.8% of the total train stations in NYC</a:t>
            </a:r>
          </a:p>
          <a:p>
            <a:r>
              <a:rPr lang="en-US" sz="1600" dirty="0"/>
              <a:t>With this information two things were expected.</a:t>
            </a:r>
          </a:p>
          <a:p>
            <a:pPr marL="450850" lvl="2" indent="-171450"/>
            <a:r>
              <a:rPr lang="en-US" sz="1600" dirty="0"/>
              <a:t>Manhattan &amp; Brooklyn would be outliers that may show a weaker correlation due to the increased number of lines</a:t>
            </a:r>
          </a:p>
          <a:p>
            <a:pPr marL="450850" lvl="2" indent="-171450"/>
            <a:r>
              <a:rPr lang="en-US" sz="1600" dirty="0"/>
              <a:t>Staten Island would be borough that could lead to more stable analysis due to the decreased number of train stations</a:t>
            </a:r>
          </a:p>
          <a:p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7D143E-D48E-4D91-9D7A-DAEB55D763A2}"/>
              </a:ext>
            </a:extLst>
          </p:cNvPr>
          <p:cNvSpPr txBox="1"/>
          <p:nvPr/>
        </p:nvSpPr>
        <p:spPr bwMode="gray">
          <a:xfrm>
            <a:off x="6072906" y="5602527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1: </a:t>
            </a:r>
            <a:r>
              <a:rPr lang="en-US" sz="1400" dirty="0"/>
              <a:t>Determining Which Boroughs Have the Most Stations</a:t>
            </a:r>
            <a:endParaRPr lang="en-US" sz="1300" b="1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9845E0F6-B9D4-144D-A865-B2986161F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0991" y="1291176"/>
            <a:ext cx="6071109" cy="4214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C22F98-B443-40DC-A140-890290C6D6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2906" y="947464"/>
            <a:ext cx="5619998" cy="5349013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New York Real Estate had a healthy mix of Home Types helping even the playing field</a:t>
            </a:r>
            <a:endParaRPr lang="en-US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C989B3-8405-42F6-9731-C35F4ED41535}"/>
              </a:ext>
            </a:extLst>
          </p:cNvPr>
          <p:cNvSpPr txBox="1"/>
          <p:nvPr/>
        </p:nvSpPr>
        <p:spPr bwMode="gray">
          <a:xfrm>
            <a:off x="6364736" y="5777625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2:</a:t>
            </a:r>
            <a:r>
              <a:rPr lang="en-US" sz="1400" dirty="0"/>
              <a:t> Pie Charts for sales by Home Types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704406CF-F96F-452E-ACF8-12F36DF55955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5487448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urprisingly New York City had a strong mix of home types throughout the 5 Boroughs.</a:t>
            </a:r>
          </a:p>
          <a:p>
            <a:endParaRPr lang="en-US" sz="1600" dirty="0"/>
          </a:p>
          <a:p>
            <a:r>
              <a:rPr lang="en-US" sz="1600" dirty="0"/>
              <a:t>Multi Family homes, Condos and Single Family homes accounted for the majority of home listings around the Train Stations</a:t>
            </a:r>
          </a:p>
          <a:p>
            <a:endParaRPr lang="en-US" sz="1600" dirty="0"/>
          </a:p>
          <a:p>
            <a:pPr marL="412750" lvl="1" indent="-285750"/>
            <a:r>
              <a:rPr lang="en-US" sz="1600" dirty="0"/>
              <a:t>With this information looking at data across the 5 boroughs became more stable.</a:t>
            </a:r>
          </a:p>
        </p:txBody>
      </p:sp>
    </p:spTree>
    <p:extLst>
      <p:ext uri="{BB962C8B-B14F-4D97-AF65-F5344CB8AC3E}">
        <p14:creationId xmlns:p14="http://schemas.microsoft.com/office/powerpoint/2010/main" val="337614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181992D-64BE-4B41-AEC8-AA710C8D8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303" y="784180"/>
            <a:ext cx="6898422" cy="5518738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noProof="0" dirty="0"/>
              <a:t>Average home prices across the 5 Boroughs varied with no clear pattern</a:t>
            </a:r>
            <a:endParaRPr lang="en-US" sz="2400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6EF112-8573-4597-9337-E8413833C14F}"/>
              </a:ext>
            </a:extLst>
          </p:cNvPr>
          <p:cNvSpPr txBox="1"/>
          <p:nvPr/>
        </p:nvSpPr>
        <p:spPr bwMode="gray">
          <a:xfrm>
            <a:off x="5950556" y="6127821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3</a:t>
            </a:r>
            <a:r>
              <a:rPr lang="en-US" sz="1400" dirty="0"/>
              <a:t>: Sale Price Distribution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5251105-ED1B-4E9A-9C7E-5445C3050E91}"/>
              </a:ext>
            </a:extLst>
          </p:cNvPr>
          <p:cNvSpPr txBox="1">
            <a:spLocks/>
          </p:cNvSpPr>
          <p:nvPr/>
        </p:nvSpPr>
        <p:spPr>
          <a:xfrm>
            <a:off x="238312" y="1682454"/>
            <a:ext cx="5209447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Manhattan had the largest distribution of Home pricing, containing a large amount of outliers making Manhattan unique and more difficult to underst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is could be do to a multitude of factors which make Manhattan very different from the other boroug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box plot also shows the variability of prices by borough:</a:t>
            </a:r>
          </a:p>
          <a:p>
            <a:pPr marL="565150" lvl="2" indent="-285750"/>
            <a:r>
              <a:rPr lang="en-US" sz="1600" dirty="0"/>
              <a:t>Bronx and Staten Island prices closer to the mean than the other boroughs</a:t>
            </a:r>
          </a:p>
          <a:p>
            <a:pPr marL="565150" lvl="2" indent="-285750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4537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Proximity to train stations had varying effects across the 5 boroughs</a:t>
            </a:r>
            <a:endParaRPr lang="en-US" sz="2400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50BB28-8FF7-4ECA-82F1-62AF74E21D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30" t="5675" r="3508"/>
          <a:stretch/>
        </p:blipFill>
        <p:spPr>
          <a:xfrm>
            <a:off x="5155661" y="916033"/>
            <a:ext cx="6835302" cy="5363184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56313C-BEF0-418C-85BB-FB5A58B468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695" y="3674867"/>
            <a:ext cx="3543105" cy="265732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8C9A84-77AE-4F22-ABF7-BD00DB52538E}"/>
              </a:ext>
            </a:extLst>
          </p:cNvPr>
          <p:cNvSpPr txBox="1"/>
          <p:nvPr/>
        </p:nvSpPr>
        <p:spPr bwMode="gray">
          <a:xfrm>
            <a:off x="3816957" y="6455413"/>
            <a:ext cx="5479915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400" b="1" dirty="0"/>
              <a:t>Figure 4: </a:t>
            </a:r>
            <a:r>
              <a:rPr lang="en-US" sz="1400" dirty="0"/>
              <a:t>Distance vs. Home Prices by Borough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304075F4-4168-4CD4-AF36-D0F383E6648B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4937074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here were no clear trends across the 5 boroughs when comparing home prices and station distance</a:t>
            </a:r>
          </a:p>
          <a:p>
            <a:endParaRPr lang="en-US" sz="1600" dirty="0"/>
          </a:p>
          <a:p>
            <a:r>
              <a:rPr lang="en-US" sz="1600" dirty="0"/>
              <a:t>This finding led us to get more granular in our analysis to look for the effect that the MTA had on home prices</a:t>
            </a:r>
          </a:p>
        </p:txBody>
      </p:sp>
    </p:spTree>
    <p:extLst>
      <p:ext uri="{BB962C8B-B14F-4D97-AF65-F5344CB8AC3E}">
        <p14:creationId xmlns:p14="http://schemas.microsoft.com/office/powerpoint/2010/main" val="376293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442</TotalTime>
  <Words>1008</Words>
  <Application>Microsoft Office PowerPoint</Application>
  <PresentationFormat>Widescreen</PresentationFormat>
  <Paragraphs>129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Verdana</vt:lpstr>
      <vt:lpstr>Verdana (Headings)</vt:lpstr>
      <vt:lpstr>Wingdings</vt:lpstr>
      <vt:lpstr>Deloitte_US_Onscreen</vt:lpstr>
      <vt:lpstr>Office Theme</vt:lpstr>
      <vt:lpstr>2_Deloitte_US_Onscreen</vt:lpstr>
      <vt:lpstr>think-cell Slide</vt:lpstr>
      <vt:lpstr>PowerPoint Presentation</vt:lpstr>
      <vt:lpstr>Contents|</vt:lpstr>
      <vt:lpstr>PowerPoint Presentation</vt:lpstr>
      <vt:lpstr>Data| </vt:lpstr>
      <vt:lpstr>Modules Used for Data Analysis</vt:lpstr>
      <vt:lpstr>Understanding the MTA System</vt:lpstr>
      <vt:lpstr>New York Real Estate had a healthy mix of Home Types helping even the playing field</vt:lpstr>
      <vt:lpstr>Average home prices across the 5 Boroughs varied with no clear pattern</vt:lpstr>
      <vt:lpstr>Proximity to train stations had varying effects across the 5 boroughs</vt:lpstr>
      <vt:lpstr>Home Prices Relative to Number of Stations| </vt:lpstr>
      <vt:lpstr>Manhattans unique real estate values had varying pricing across different locations outside of the MTA</vt:lpstr>
      <vt:lpstr>Further analysis was done on Staten Island as it was the most stable of the 5 boroughs</vt:lpstr>
      <vt:lpstr>PowerPoint Presentation</vt:lpstr>
      <vt:lpstr>Challenges| 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 R. Rizvi (Open)</dc:creator>
  <cp:lastModifiedBy>Robert James Domingo</cp:lastModifiedBy>
  <cp:revision>75</cp:revision>
  <cp:lastPrinted>2014-06-25T02:16:22Z</cp:lastPrinted>
  <dcterms:created xsi:type="dcterms:W3CDTF">2019-03-06T00:12:41Z</dcterms:created>
  <dcterms:modified xsi:type="dcterms:W3CDTF">2019-03-09T16:05:49Z</dcterms:modified>
</cp:coreProperties>
</file>